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ink/ink1.xml" ContentType="application/inkml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1" r:id="rId2"/>
    <p:sldMasterId id="2147483679" r:id="rId3"/>
  </p:sldMasterIdLst>
  <p:notesMasterIdLst>
    <p:notesMasterId r:id="rId21"/>
  </p:notesMasterIdLst>
  <p:handoutMasterIdLst>
    <p:handoutMasterId r:id="rId22"/>
  </p:handoutMasterIdLst>
  <p:sldIdLst>
    <p:sldId id="258" r:id="rId4"/>
    <p:sldId id="304" r:id="rId5"/>
    <p:sldId id="259" r:id="rId6"/>
    <p:sldId id="2665" r:id="rId7"/>
    <p:sldId id="605" r:id="rId8"/>
    <p:sldId id="2906" r:id="rId9"/>
    <p:sldId id="299" r:id="rId10"/>
    <p:sldId id="2663" r:id="rId11"/>
    <p:sldId id="300" r:id="rId12"/>
    <p:sldId id="260" r:id="rId13"/>
    <p:sldId id="516" r:id="rId14"/>
    <p:sldId id="517" r:id="rId15"/>
    <p:sldId id="515" r:id="rId16"/>
    <p:sldId id="293" r:id="rId17"/>
    <p:sldId id="323" r:id="rId18"/>
    <p:sldId id="2702" r:id="rId19"/>
    <p:sldId id="298" r:id="rId20"/>
  </p:sldIdLst>
  <p:sldSz cx="9144000" cy="6858000" type="screen4x3"/>
  <p:notesSz cx="9601200" cy="7315200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0" hangingPunct="1"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6pPr>
    <a:lvl7pPr marL="2743200" algn="l" defTabSz="914400" rtl="0" eaLnBrk="1" latinLnBrk="0" hangingPunct="1"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7pPr>
    <a:lvl8pPr marL="3200400" algn="l" defTabSz="914400" rtl="0" eaLnBrk="1" latinLnBrk="0" hangingPunct="1"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8pPr>
    <a:lvl9pPr marL="3657600" algn="l" defTabSz="914400" rtl="0" eaLnBrk="1" latinLnBrk="0" hangingPunct="1"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304" userDrawn="1">
          <p15:clr>
            <a:srgbClr val="A4A3A4"/>
          </p15:clr>
        </p15:guide>
        <p15:guide id="2" pos="302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0BC6"/>
    <a:srgbClr val="692AA2"/>
    <a:srgbClr val="006600"/>
    <a:srgbClr val="33CC33"/>
    <a:srgbClr val="B9D8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C71DC1-CC08-4296-900B-C79FEBF10E33}" v="7" dt="2024-09-05T01:30:57.03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2568" autoAdjust="0"/>
  </p:normalViewPr>
  <p:slideViewPr>
    <p:cSldViewPr>
      <p:cViewPr varScale="1">
        <p:scale>
          <a:sx n="73" d="100"/>
          <a:sy n="73" d="100"/>
        </p:scale>
        <p:origin x="1694" y="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-1670"/>
    </p:cViewPr>
  </p:sorterViewPr>
  <p:notesViewPr>
    <p:cSldViewPr>
      <p:cViewPr varScale="1">
        <p:scale>
          <a:sx n="53" d="100"/>
          <a:sy n="53" d="100"/>
        </p:scale>
        <p:origin x="-1842" y="-96"/>
      </p:cViewPr>
      <p:guideLst>
        <p:guide orient="horz" pos="2304"/>
        <p:guide pos="30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handoutMaster" Target="handoutMasters/handout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ufik Edy Sutanto, M.Sc.Tech.,Ph.D" userId="012573cc-7230-4d80-9d32-62cda141001e" providerId="ADAL" clId="{19C71DC1-CC08-4296-900B-C79FEBF10E33}"/>
    <pc:docChg chg="custSel delSld modSld delMainMaster">
      <pc:chgData name="Taufik Edy Sutanto, M.Sc.Tech.,Ph.D" userId="012573cc-7230-4d80-9d32-62cda141001e" providerId="ADAL" clId="{19C71DC1-CC08-4296-900B-C79FEBF10E33}" dt="2024-09-05T01:31:56.971" v="235" actId="20577"/>
      <pc:docMkLst>
        <pc:docMk/>
      </pc:docMkLst>
      <pc:sldChg chg="addSp modSp mod">
        <pc:chgData name="Taufik Edy Sutanto, M.Sc.Tech.,Ph.D" userId="012573cc-7230-4d80-9d32-62cda141001e" providerId="ADAL" clId="{19C71DC1-CC08-4296-900B-C79FEBF10E33}" dt="2024-09-05T01:23:31.264" v="58" actId="113"/>
        <pc:sldMkLst>
          <pc:docMk/>
          <pc:sldMk cId="0" sldId="258"/>
        </pc:sldMkLst>
        <pc:spChg chg="mod">
          <ac:chgData name="Taufik Edy Sutanto, M.Sc.Tech.,Ph.D" userId="012573cc-7230-4d80-9d32-62cda141001e" providerId="ADAL" clId="{19C71DC1-CC08-4296-900B-C79FEBF10E33}" dt="2024-09-05T01:23:31.264" v="58" actId="113"/>
          <ac:spMkLst>
            <pc:docMk/>
            <pc:sldMk cId="0" sldId="258"/>
            <ac:spMk id="155650" creationId="{00000000-0000-0000-0000-000000000000}"/>
          </ac:spMkLst>
        </pc:spChg>
        <pc:picChg chg="add mod">
          <ac:chgData name="Taufik Edy Sutanto, M.Sc.Tech.,Ph.D" userId="012573cc-7230-4d80-9d32-62cda141001e" providerId="ADAL" clId="{19C71DC1-CC08-4296-900B-C79FEBF10E33}" dt="2024-09-05T01:23:10.561" v="55" actId="1076"/>
          <ac:picMkLst>
            <pc:docMk/>
            <pc:sldMk cId="0" sldId="258"/>
            <ac:picMk id="8" creationId="{8B3930B8-0C0A-FC7D-B927-1B61DC6FBB9D}"/>
          </ac:picMkLst>
        </pc:picChg>
        <pc:picChg chg="mod">
          <ac:chgData name="Taufik Edy Sutanto, M.Sc.Tech.,Ph.D" userId="012573cc-7230-4d80-9d32-62cda141001e" providerId="ADAL" clId="{19C71DC1-CC08-4296-900B-C79FEBF10E33}" dt="2024-09-05T01:22:37.222" v="48" actId="1076"/>
          <ac:picMkLst>
            <pc:docMk/>
            <pc:sldMk cId="0" sldId="258"/>
            <ac:picMk id="10" creationId="{F0616A53-D93D-4477-8D9B-F51051A861F3}"/>
          </ac:picMkLst>
        </pc:picChg>
        <pc:picChg chg="mod">
          <ac:chgData name="Taufik Edy Sutanto, M.Sc.Tech.,Ph.D" userId="012573cc-7230-4d80-9d32-62cda141001e" providerId="ADAL" clId="{19C71DC1-CC08-4296-900B-C79FEBF10E33}" dt="2024-09-05T01:23:13.103" v="56" actId="1076"/>
          <ac:picMkLst>
            <pc:docMk/>
            <pc:sldMk cId="0" sldId="258"/>
            <ac:picMk id="13" creationId="{A22BDC5E-C461-4D88-81E5-EA44CF233786}"/>
          </ac:picMkLst>
        </pc:picChg>
      </pc:sldChg>
      <pc:sldChg chg="modSp mod">
        <pc:chgData name="Taufik Edy Sutanto, M.Sc.Tech.,Ph.D" userId="012573cc-7230-4d80-9d32-62cda141001e" providerId="ADAL" clId="{19C71DC1-CC08-4296-900B-C79FEBF10E33}" dt="2024-09-05T01:23:49.159" v="68" actId="20577"/>
        <pc:sldMkLst>
          <pc:docMk/>
          <pc:sldMk cId="0" sldId="259"/>
        </pc:sldMkLst>
        <pc:spChg chg="mod">
          <ac:chgData name="Taufik Edy Sutanto, M.Sc.Tech.,Ph.D" userId="012573cc-7230-4d80-9d32-62cda141001e" providerId="ADAL" clId="{19C71DC1-CC08-4296-900B-C79FEBF10E33}" dt="2024-09-05T01:23:49.159" v="68" actId="20577"/>
          <ac:spMkLst>
            <pc:docMk/>
            <pc:sldMk cId="0" sldId="259"/>
            <ac:spMk id="11" creationId="{00000000-0000-0000-0000-000000000000}"/>
          </ac:spMkLst>
        </pc:spChg>
      </pc:sldChg>
      <pc:sldChg chg="modSp mod">
        <pc:chgData name="Taufik Edy Sutanto, M.Sc.Tech.,Ph.D" userId="012573cc-7230-4d80-9d32-62cda141001e" providerId="ADAL" clId="{19C71DC1-CC08-4296-900B-C79FEBF10E33}" dt="2024-09-05T01:31:56.971" v="235" actId="20577"/>
        <pc:sldMkLst>
          <pc:docMk/>
          <pc:sldMk cId="0" sldId="293"/>
        </pc:sldMkLst>
        <pc:spChg chg="mod">
          <ac:chgData name="Taufik Edy Sutanto, M.Sc.Tech.,Ph.D" userId="012573cc-7230-4d80-9d32-62cda141001e" providerId="ADAL" clId="{19C71DC1-CC08-4296-900B-C79FEBF10E33}" dt="2024-09-05T01:31:56.971" v="235" actId="20577"/>
          <ac:spMkLst>
            <pc:docMk/>
            <pc:sldMk cId="0" sldId="293"/>
            <ac:spMk id="4" creationId="{00000000-0000-0000-0000-000000000000}"/>
          </ac:spMkLst>
        </pc:spChg>
      </pc:sldChg>
      <pc:sldChg chg="addSp delSp modSp mod">
        <pc:chgData name="Taufik Edy Sutanto, M.Sc.Tech.,Ph.D" userId="012573cc-7230-4d80-9d32-62cda141001e" providerId="ADAL" clId="{19C71DC1-CC08-4296-900B-C79FEBF10E33}" dt="2024-09-05T01:31:00.244" v="217" actId="1076"/>
        <pc:sldMkLst>
          <pc:docMk/>
          <pc:sldMk cId="805183238" sldId="298"/>
        </pc:sldMkLst>
        <pc:spChg chg="mod">
          <ac:chgData name="Taufik Edy Sutanto, M.Sc.Tech.,Ph.D" userId="012573cc-7230-4d80-9d32-62cda141001e" providerId="ADAL" clId="{19C71DC1-CC08-4296-900B-C79FEBF10E33}" dt="2024-09-05T01:30:47.845" v="215" actId="207"/>
          <ac:spMkLst>
            <pc:docMk/>
            <pc:sldMk cId="805183238" sldId="298"/>
            <ac:spMk id="155650" creationId="{00000000-0000-0000-0000-000000000000}"/>
          </ac:spMkLst>
        </pc:spChg>
        <pc:picChg chg="add mod">
          <ac:chgData name="Taufik Edy Sutanto, M.Sc.Tech.,Ph.D" userId="012573cc-7230-4d80-9d32-62cda141001e" providerId="ADAL" clId="{19C71DC1-CC08-4296-900B-C79FEBF10E33}" dt="2024-09-05T01:31:00.244" v="217" actId="1076"/>
          <ac:picMkLst>
            <pc:docMk/>
            <pc:sldMk cId="805183238" sldId="298"/>
            <ac:picMk id="2" creationId="{A9006098-17A3-91CA-E023-B5BB3A164D1F}"/>
          </ac:picMkLst>
        </pc:picChg>
        <pc:picChg chg="del">
          <ac:chgData name="Taufik Edy Sutanto, M.Sc.Tech.,Ph.D" userId="012573cc-7230-4d80-9d32-62cda141001e" providerId="ADAL" clId="{19C71DC1-CC08-4296-900B-C79FEBF10E33}" dt="2024-09-05T01:30:29.319" v="194" actId="478"/>
          <ac:picMkLst>
            <pc:docMk/>
            <pc:sldMk cId="805183238" sldId="298"/>
            <ac:picMk id="11" creationId="{1EC419C5-7A0A-4F5F-B8BF-1B256370A1ED}"/>
          </ac:picMkLst>
        </pc:picChg>
        <pc:picChg chg="mod">
          <ac:chgData name="Taufik Edy Sutanto, M.Sc.Tech.,Ph.D" userId="012573cc-7230-4d80-9d32-62cda141001e" providerId="ADAL" clId="{19C71DC1-CC08-4296-900B-C79FEBF10E33}" dt="2024-09-05T01:30:31.682" v="195" actId="1076"/>
          <ac:picMkLst>
            <pc:docMk/>
            <pc:sldMk cId="805183238" sldId="298"/>
            <ac:picMk id="12" creationId="{E17B7D41-9BB0-4994-82B0-C76E4CDD3FCD}"/>
          </ac:picMkLst>
        </pc:picChg>
      </pc:sldChg>
      <pc:sldChg chg="modSp mod">
        <pc:chgData name="Taufik Edy Sutanto, M.Sc.Tech.,Ph.D" userId="012573cc-7230-4d80-9d32-62cda141001e" providerId="ADAL" clId="{19C71DC1-CC08-4296-900B-C79FEBF10E33}" dt="2024-09-05T01:28:48.187" v="156" actId="114"/>
        <pc:sldMkLst>
          <pc:docMk/>
          <pc:sldMk cId="724966929" sldId="299"/>
        </pc:sldMkLst>
        <pc:spChg chg="mod">
          <ac:chgData name="Taufik Edy Sutanto, M.Sc.Tech.,Ph.D" userId="012573cc-7230-4d80-9d32-62cda141001e" providerId="ADAL" clId="{19C71DC1-CC08-4296-900B-C79FEBF10E33}" dt="2024-09-05T01:27:34.601" v="141" actId="20577"/>
          <ac:spMkLst>
            <pc:docMk/>
            <pc:sldMk cId="724966929" sldId="299"/>
            <ac:spMk id="2" creationId="{94578059-E94D-4D7A-B043-3EBFB7C86FB8}"/>
          </ac:spMkLst>
        </pc:spChg>
        <pc:spChg chg="mod">
          <ac:chgData name="Taufik Edy Sutanto, M.Sc.Tech.,Ph.D" userId="012573cc-7230-4d80-9d32-62cda141001e" providerId="ADAL" clId="{19C71DC1-CC08-4296-900B-C79FEBF10E33}" dt="2024-09-05T01:28:48.187" v="156" actId="114"/>
          <ac:spMkLst>
            <pc:docMk/>
            <pc:sldMk cId="724966929" sldId="299"/>
            <ac:spMk id="6" creationId="{088AD41C-4131-47CB-A996-1D9474D3B2BD}"/>
          </ac:spMkLst>
        </pc:spChg>
      </pc:sldChg>
      <pc:sldChg chg="modSp mod">
        <pc:chgData name="Taufik Edy Sutanto, M.Sc.Tech.,Ph.D" userId="012573cc-7230-4d80-9d32-62cda141001e" providerId="ADAL" clId="{19C71DC1-CC08-4296-900B-C79FEBF10E33}" dt="2024-09-05T01:23:42.527" v="60" actId="27636"/>
        <pc:sldMkLst>
          <pc:docMk/>
          <pc:sldMk cId="2530550081" sldId="304"/>
        </pc:sldMkLst>
        <pc:spChg chg="mod">
          <ac:chgData name="Taufik Edy Sutanto, M.Sc.Tech.,Ph.D" userId="012573cc-7230-4d80-9d32-62cda141001e" providerId="ADAL" clId="{19C71DC1-CC08-4296-900B-C79FEBF10E33}" dt="2024-09-05T01:23:42.527" v="60" actId="27636"/>
          <ac:spMkLst>
            <pc:docMk/>
            <pc:sldMk cId="2530550081" sldId="304"/>
            <ac:spMk id="5122" creationId="{00000000-0000-0000-0000-000000000000}"/>
          </ac:spMkLst>
        </pc:spChg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586269248" sldId="313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1434722391" sldId="314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2048724029" sldId="315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3759109693" sldId="317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850789166" sldId="321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719130707" sldId="322"/>
        </pc:sldMkLst>
      </pc:sldChg>
      <pc:sldChg chg="modSp mod">
        <pc:chgData name="Taufik Edy Sutanto, M.Sc.Tech.,Ph.D" userId="012573cc-7230-4d80-9d32-62cda141001e" providerId="ADAL" clId="{19C71DC1-CC08-4296-900B-C79FEBF10E33}" dt="2024-09-05T01:30:02.970" v="192" actId="20577"/>
        <pc:sldMkLst>
          <pc:docMk/>
          <pc:sldMk cId="4150803697" sldId="323"/>
        </pc:sldMkLst>
        <pc:spChg chg="mod">
          <ac:chgData name="Taufik Edy Sutanto, M.Sc.Tech.,Ph.D" userId="012573cc-7230-4d80-9d32-62cda141001e" providerId="ADAL" clId="{19C71DC1-CC08-4296-900B-C79FEBF10E33}" dt="2024-09-05T01:30:02.970" v="192" actId="20577"/>
          <ac:spMkLst>
            <pc:docMk/>
            <pc:sldMk cId="4150803697" sldId="323"/>
            <ac:spMk id="5122" creationId="{00000000-0000-0000-0000-000000000000}"/>
          </ac:spMkLst>
        </pc:spChg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3122352743" sldId="324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3968756924" sldId="326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2054192530" sldId="327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4082411400" sldId="328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259497433" sldId="331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2795191108" sldId="332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1760342690" sldId="333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143759464" sldId="339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79506650" sldId="340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2210087412" sldId="518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4284345403" sldId="520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2005729716" sldId="523"/>
        </pc:sldMkLst>
      </pc:sldChg>
      <pc:sldChg chg="del">
        <pc:chgData name="Taufik Edy Sutanto, M.Sc.Tech.,Ph.D" userId="012573cc-7230-4d80-9d32-62cda141001e" providerId="ADAL" clId="{19C71DC1-CC08-4296-900B-C79FEBF10E33}" dt="2024-09-05T01:29:33.989" v="167" actId="47"/>
        <pc:sldMkLst>
          <pc:docMk/>
          <pc:sldMk cId="3317345335" sldId="570"/>
        </pc:sldMkLst>
      </pc:sldChg>
      <pc:sldChg chg="del">
        <pc:chgData name="Taufik Edy Sutanto, M.Sc.Tech.,Ph.D" userId="012573cc-7230-4d80-9d32-62cda141001e" providerId="ADAL" clId="{19C71DC1-CC08-4296-900B-C79FEBF10E33}" dt="2024-09-05T01:29:33.989" v="167" actId="47"/>
        <pc:sldMkLst>
          <pc:docMk/>
          <pc:sldMk cId="2823031814" sldId="576"/>
        </pc:sldMkLst>
      </pc:sldChg>
      <pc:sldChg chg="addSp modSp mod">
        <pc:chgData name="Taufik Edy Sutanto, M.Sc.Tech.,Ph.D" userId="012573cc-7230-4d80-9d32-62cda141001e" providerId="ADAL" clId="{19C71DC1-CC08-4296-900B-C79FEBF10E33}" dt="2024-09-05T01:27:12.252" v="104" actId="20577"/>
        <pc:sldMkLst>
          <pc:docMk/>
          <pc:sldMk cId="1771271350" sldId="605"/>
        </pc:sldMkLst>
        <pc:spChg chg="add">
          <ac:chgData name="Taufik Edy Sutanto, M.Sc.Tech.,Ph.D" userId="012573cc-7230-4d80-9d32-62cda141001e" providerId="ADAL" clId="{19C71DC1-CC08-4296-900B-C79FEBF10E33}" dt="2024-09-05T01:26:52.250" v="88"/>
          <ac:spMkLst>
            <pc:docMk/>
            <pc:sldMk cId="1771271350" sldId="605"/>
            <ac:spMk id="2" creationId="{F4F0DD9C-C7A9-1D15-0095-329ACAB4EFD6}"/>
          </ac:spMkLst>
        </pc:spChg>
        <pc:spChg chg="mod">
          <ac:chgData name="Taufik Edy Sutanto, M.Sc.Tech.,Ph.D" userId="012573cc-7230-4d80-9d32-62cda141001e" providerId="ADAL" clId="{19C71DC1-CC08-4296-900B-C79FEBF10E33}" dt="2024-09-05T01:26:39.075" v="87" actId="20577"/>
          <ac:spMkLst>
            <pc:docMk/>
            <pc:sldMk cId="1771271350" sldId="605"/>
            <ac:spMk id="6" creationId="{10CCBA7A-1C3C-42FB-8E3F-E380B0472073}"/>
          </ac:spMkLst>
        </pc:spChg>
        <pc:spChg chg="mod">
          <ac:chgData name="Taufik Edy Sutanto, M.Sc.Tech.,Ph.D" userId="012573cc-7230-4d80-9d32-62cda141001e" providerId="ADAL" clId="{19C71DC1-CC08-4296-900B-C79FEBF10E33}" dt="2024-09-05T01:27:12.252" v="104" actId="20577"/>
          <ac:spMkLst>
            <pc:docMk/>
            <pc:sldMk cId="1771271350" sldId="605"/>
            <ac:spMk id="14" creationId="{F5C02F18-CCBD-40FD-B656-E8078877878F}"/>
          </ac:spMkLst>
        </pc:spChg>
      </pc:sldChg>
      <pc:sldChg chg="modSp mod">
        <pc:chgData name="Taufik Edy Sutanto, M.Sc.Tech.,Ph.D" userId="012573cc-7230-4d80-9d32-62cda141001e" providerId="ADAL" clId="{19C71DC1-CC08-4296-900B-C79FEBF10E33}" dt="2024-09-05T01:28:56.215" v="165" actId="20577"/>
        <pc:sldMkLst>
          <pc:docMk/>
          <pc:sldMk cId="2987923351" sldId="2663"/>
        </pc:sldMkLst>
        <pc:spChg chg="mod">
          <ac:chgData name="Taufik Edy Sutanto, M.Sc.Tech.,Ph.D" userId="012573cc-7230-4d80-9d32-62cda141001e" providerId="ADAL" clId="{19C71DC1-CC08-4296-900B-C79FEBF10E33}" dt="2024-09-05T01:28:56.215" v="165" actId="20577"/>
          <ac:spMkLst>
            <pc:docMk/>
            <pc:sldMk cId="2987923351" sldId="2663"/>
            <ac:spMk id="3" creationId="{00000000-0000-0000-0000-000000000000}"/>
          </ac:spMkLst>
        </pc:spChg>
      </pc:sldChg>
      <pc:sldChg chg="modSp mod">
        <pc:chgData name="Taufik Edy Sutanto, M.Sc.Tech.,Ph.D" userId="012573cc-7230-4d80-9d32-62cda141001e" providerId="ADAL" clId="{19C71DC1-CC08-4296-900B-C79FEBF10E33}" dt="2024-09-05T01:25:29.694" v="73" actId="20577"/>
        <pc:sldMkLst>
          <pc:docMk/>
          <pc:sldMk cId="3092648446" sldId="2665"/>
        </pc:sldMkLst>
        <pc:spChg chg="mod">
          <ac:chgData name="Taufik Edy Sutanto, M.Sc.Tech.,Ph.D" userId="012573cc-7230-4d80-9d32-62cda141001e" providerId="ADAL" clId="{19C71DC1-CC08-4296-900B-C79FEBF10E33}" dt="2024-09-05T01:24:57.036" v="69"/>
          <ac:spMkLst>
            <pc:docMk/>
            <pc:sldMk cId="3092648446" sldId="2665"/>
            <ac:spMk id="110597" creationId="{A2AFDC8D-5717-4952-99D6-39C2AAA79586}"/>
          </ac:spMkLst>
        </pc:spChg>
        <pc:spChg chg="mod">
          <ac:chgData name="Taufik Edy Sutanto, M.Sc.Tech.,Ph.D" userId="012573cc-7230-4d80-9d32-62cda141001e" providerId="ADAL" clId="{19C71DC1-CC08-4296-900B-C79FEBF10E33}" dt="2024-09-05T01:25:29.694" v="73" actId="20577"/>
          <ac:spMkLst>
            <pc:docMk/>
            <pc:sldMk cId="3092648446" sldId="2665"/>
            <ac:spMk id="110599" creationId="{8E3C508E-D880-40C9-8668-1D343AD4B446}"/>
          </ac:spMkLst>
        </pc:spChg>
        <pc:picChg chg="mod">
          <ac:chgData name="Taufik Edy Sutanto, M.Sc.Tech.,Ph.D" userId="012573cc-7230-4d80-9d32-62cda141001e" providerId="ADAL" clId="{19C71DC1-CC08-4296-900B-C79FEBF10E33}" dt="2024-09-05T01:25:21.440" v="72" actId="1076"/>
          <ac:picMkLst>
            <pc:docMk/>
            <pc:sldMk cId="3092648446" sldId="2665"/>
            <ac:picMk id="110601" creationId="{E522D7AB-6F20-437D-B1B2-FFA5394BA8DF}"/>
          </ac:picMkLst>
        </pc:picChg>
        <pc:picChg chg="mod">
          <ac:chgData name="Taufik Edy Sutanto, M.Sc.Tech.,Ph.D" userId="012573cc-7230-4d80-9d32-62cda141001e" providerId="ADAL" clId="{19C71DC1-CC08-4296-900B-C79FEBF10E33}" dt="2024-09-05T01:25:02.015" v="70" actId="1076"/>
          <ac:picMkLst>
            <pc:docMk/>
            <pc:sldMk cId="3092648446" sldId="2665"/>
            <ac:picMk id="110603" creationId="{952F5718-0F56-47F9-A418-12F955598855}"/>
          </ac:picMkLst>
        </pc:picChg>
      </pc:sldChg>
      <pc:sldChg chg="del">
        <pc:chgData name="Taufik Edy Sutanto, M.Sc.Tech.,Ph.D" userId="012573cc-7230-4d80-9d32-62cda141001e" providerId="ADAL" clId="{19C71DC1-CC08-4296-900B-C79FEBF10E33}" dt="2024-09-05T01:29:33.989" v="167" actId="47"/>
        <pc:sldMkLst>
          <pc:docMk/>
          <pc:sldMk cId="873852150" sldId="2683"/>
        </pc:sldMkLst>
      </pc:sldChg>
      <pc:sldChg chg="del">
        <pc:chgData name="Taufik Edy Sutanto, M.Sc.Tech.,Ph.D" userId="012573cc-7230-4d80-9d32-62cda141001e" providerId="ADAL" clId="{19C71DC1-CC08-4296-900B-C79FEBF10E33}" dt="2024-09-05T01:29:33.989" v="167" actId="47"/>
        <pc:sldMkLst>
          <pc:docMk/>
          <pc:sldMk cId="1463869960" sldId="2690"/>
        </pc:sldMkLst>
      </pc:sldChg>
      <pc:sldChg chg="del">
        <pc:chgData name="Taufik Edy Sutanto, M.Sc.Tech.,Ph.D" userId="012573cc-7230-4d80-9d32-62cda141001e" providerId="ADAL" clId="{19C71DC1-CC08-4296-900B-C79FEBF10E33}" dt="2024-09-05T01:29:33.989" v="167" actId="47"/>
        <pc:sldMkLst>
          <pc:docMk/>
          <pc:sldMk cId="590213523" sldId="2691"/>
        </pc:sldMkLst>
      </pc:sldChg>
      <pc:sldChg chg="del">
        <pc:chgData name="Taufik Edy Sutanto, M.Sc.Tech.,Ph.D" userId="012573cc-7230-4d80-9d32-62cda141001e" providerId="ADAL" clId="{19C71DC1-CC08-4296-900B-C79FEBF10E33}" dt="2024-09-05T01:29:53.104" v="183" actId="2696"/>
        <pc:sldMkLst>
          <pc:docMk/>
          <pc:sldMk cId="2854860960" sldId="2697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1982576416" sldId="2698"/>
        </pc:sldMkLst>
      </pc:sldChg>
      <pc:sldChg chg="modSp mod">
        <pc:chgData name="Taufik Edy Sutanto, M.Sc.Tech.,Ph.D" userId="012573cc-7230-4d80-9d32-62cda141001e" providerId="ADAL" clId="{19C71DC1-CC08-4296-900B-C79FEBF10E33}" dt="2024-09-05T01:31:43.209" v="234" actId="2711"/>
        <pc:sldMkLst>
          <pc:docMk/>
          <pc:sldMk cId="1505135750" sldId="2702"/>
        </pc:sldMkLst>
        <pc:spChg chg="mod">
          <ac:chgData name="Taufik Edy Sutanto, M.Sc.Tech.,Ph.D" userId="012573cc-7230-4d80-9d32-62cda141001e" providerId="ADAL" clId="{19C71DC1-CC08-4296-900B-C79FEBF10E33}" dt="2024-09-05T01:31:32.749" v="231" actId="1076"/>
          <ac:spMkLst>
            <pc:docMk/>
            <pc:sldMk cId="1505135750" sldId="2702"/>
            <ac:spMk id="4" creationId="{B20B0704-D00B-4736-979E-7CA37EBCF363}"/>
          </ac:spMkLst>
        </pc:spChg>
        <pc:spChg chg="mod">
          <ac:chgData name="Taufik Edy Sutanto, M.Sc.Tech.,Ph.D" userId="012573cc-7230-4d80-9d32-62cda141001e" providerId="ADAL" clId="{19C71DC1-CC08-4296-900B-C79FEBF10E33}" dt="2024-09-05T01:31:43.209" v="234" actId="2711"/>
          <ac:spMkLst>
            <pc:docMk/>
            <pc:sldMk cId="1505135750" sldId="2702"/>
            <ac:spMk id="5122" creationId="{00000000-0000-0000-0000-000000000000}"/>
          </ac:spMkLst>
        </pc:spChg>
        <pc:picChg chg="mod">
          <ac:chgData name="Taufik Edy Sutanto, M.Sc.Tech.,Ph.D" userId="012573cc-7230-4d80-9d32-62cda141001e" providerId="ADAL" clId="{19C71DC1-CC08-4296-900B-C79FEBF10E33}" dt="2024-09-05T01:31:28.226" v="230" actId="1076"/>
          <ac:picMkLst>
            <pc:docMk/>
            <pc:sldMk cId="1505135750" sldId="2702"/>
            <ac:picMk id="5" creationId="{9BE7639F-1D95-4129-88E9-FE4E072FBB4B}"/>
          </ac:picMkLst>
        </pc:picChg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2652084444" sldId="2759"/>
        </pc:sldMkLst>
      </pc:sldChg>
      <pc:sldChg chg="del">
        <pc:chgData name="Taufik Edy Sutanto, M.Sc.Tech.,Ph.D" userId="012573cc-7230-4d80-9d32-62cda141001e" providerId="ADAL" clId="{19C71DC1-CC08-4296-900B-C79FEBF10E33}" dt="2024-09-05T01:29:33.989" v="167" actId="47"/>
        <pc:sldMkLst>
          <pc:docMk/>
          <pc:sldMk cId="1014862198" sldId="2769"/>
        </pc:sldMkLst>
      </pc:sldChg>
      <pc:sldChg chg="del">
        <pc:chgData name="Taufik Edy Sutanto, M.Sc.Tech.,Ph.D" userId="012573cc-7230-4d80-9d32-62cda141001e" providerId="ADAL" clId="{19C71DC1-CC08-4296-900B-C79FEBF10E33}" dt="2024-09-05T01:29:33.989" v="167" actId="47"/>
        <pc:sldMkLst>
          <pc:docMk/>
          <pc:sldMk cId="3005035870" sldId="2813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1065043595" sldId="2835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1814174720" sldId="2841"/>
        </pc:sldMkLst>
      </pc:sldChg>
      <pc:sldChg chg="del">
        <pc:chgData name="Taufik Edy Sutanto, M.Sc.Tech.,Ph.D" userId="012573cc-7230-4d80-9d32-62cda141001e" providerId="ADAL" clId="{19C71DC1-CC08-4296-900B-C79FEBF10E33}" dt="2024-09-05T01:29:33.989" v="167" actId="47"/>
        <pc:sldMkLst>
          <pc:docMk/>
          <pc:sldMk cId="3179610315" sldId="2846"/>
        </pc:sldMkLst>
      </pc:sldChg>
      <pc:sldChg chg="del">
        <pc:chgData name="Taufik Edy Sutanto, M.Sc.Tech.,Ph.D" userId="012573cc-7230-4d80-9d32-62cda141001e" providerId="ADAL" clId="{19C71DC1-CC08-4296-900B-C79FEBF10E33}" dt="2024-09-05T01:30:27.114" v="193" actId="47"/>
        <pc:sldMkLst>
          <pc:docMk/>
          <pc:sldMk cId="3413514077" sldId="2854"/>
        </pc:sldMkLst>
      </pc:sldChg>
      <pc:sldChg chg="modSp mod">
        <pc:chgData name="Taufik Edy Sutanto, M.Sc.Tech.,Ph.D" userId="012573cc-7230-4d80-9d32-62cda141001e" providerId="ADAL" clId="{19C71DC1-CC08-4296-900B-C79FEBF10E33}" dt="2024-09-05T01:27:22.110" v="127" actId="20577"/>
        <pc:sldMkLst>
          <pc:docMk/>
          <pc:sldMk cId="3238148559" sldId="2906"/>
        </pc:sldMkLst>
        <pc:spChg chg="mod">
          <ac:chgData name="Taufik Edy Sutanto, M.Sc.Tech.,Ph.D" userId="012573cc-7230-4d80-9d32-62cda141001e" providerId="ADAL" clId="{19C71DC1-CC08-4296-900B-C79FEBF10E33}" dt="2024-09-05T01:27:22.110" v="127" actId="20577"/>
          <ac:spMkLst>
            <pc:docMk/>
            <pc:sldMk cId="3238148559" sldId="2906"/>
            <ac:spMk id="2" creationId="{35FC4F98-7F81-4D9E-8518-D83B170FF733}"/>
          </ac:spMkLst>
        </pc:spChg>
      </pc:sldChg>
      <pc:sldChg chg="del">
        <pc:chgData name="Taufik Edy Sutanto, M.Sc.Tech.,Ph.D" userId="012573cc-7230-4d80-9d32-62cda141001e" providerId="ADAL" clId="{19C71DC1-CC08-4296-900B-C79FEBF10E33}" dt="2024-09-05T01:29:33.989" v="167" actId="47"/>
        <pc:sldMkLst>
          <pc:docMk/>
          <pc:sldMk cId="3818889839" sldId="2949"/>
        </pc:sldMkLst>
      </pc:sldChg>
      <pc:sldChg chg="del">
        <pc:chgData name="Taufik Edy Sutanto, M.Sc.Tech.,Ph.D" userId="012573cc-7230-4d80-9d32-62cda141001e" providerId="ADAL" clId="{19C71DC1-CC08-4296-900B-C79FEBF10E33}" dt="2024-09-05T01:29:03.862" v="166" actId="2696"/>
        <pc:sldMkLst>
          <pc:docMk/>
          <pc:sldMk cId="2699825529" sldId="2950"/>
        </pc:sldMkLst>
      </pc:sldChg>
      <pc:sldMasterChg chg="delSldLayout">
        <pc:chgData name="Taufik Edy Sutanto, M.Sc.Tech.,Ph.D" userId="012573cc-7230-4d80-9d32-62cda141001e" providerId="ADAL" clId="{19C71DC1-CC08-4296-900B-C79FEBF10E33}" dt="2024-09-05T01:29:33.989" v="167" actId="47"/>
        <pc:sldMasterMkLst>
          <pc:docMk/>
          <pc:sldMasterMk cId="1415727768" sldId="2147483661"/>
        </pc:sldMasterMkLst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415727768" sldId="2147483661"/>
            <pc:sldLayoutMk cId="4220025673" sldId="2147483727"/>
          </pc:sldLayoutMkLst>
        </pc:sldLayoutChg>
      </pc:sldMasterChg>
      <pc:sldMasterChg chg="del delSldLayout">
        <pc:chgData name="Taufik Edy Sutanto, M.Sc.Tech.,Ph.D" userId="012573cc-7230-4d80-9d32-62cda141001e" providerId="ADAL" clId="{19C71DC1-CC08-4296-900B-C79FEBF10E33}" dt="2024-09-05T01:29:33.989" v="167" actId="47"/>
        <pc:sldMasterMkLst>
          <pc:docMk/>
          <pc:sldMasterMk cId="1568299205" sldId="2147483701"/>
        </pc:sldMasterMkLst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2018224994" sldId="2147483702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512091228" sldId="2147483703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3478495937" sldId="2147483704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3418346818" sldId="2147483705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2769251764" sldId="2147483706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2011984442" sldId="2147483707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99399489" sldId="2147483708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1493212046" sldId="2147483709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2094798137" sldId="2147483710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1129144024" sldId="2147483711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4124505526" sldId="2147483712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568299205" sldId="2147483701"/>
            <pc:sldLayoutMk cId="2033675113" sldId="2147483713"/>
          </pc:sldLayoutMkLst>
        </pc:sldLayoutChg>
      </pc:sldMasterChg>
      <pc:sldMasterChg chg="del delSldLayout">
        <pc:chgData name="Taufik Edy Sutanto, M.Sc.Tech.,Ph.D" userId="012573cc-7230-4d80-9d32-62cda141001e" providerId="ADAL" clId="{19C71DC1-CC08-4296-900B-C79FEBF10E33}" dt="2024-09-05T01:29:33.989" v="167" actId="47"/>
        <pc:sldMasterMkLst>
          <pc:docMk/>
          <pc:sldMasterMk cId="1691662847" sldId="2147483714"/>
        </pc:sldMasterMkLst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3209859069" sldId="2147483715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3241802202" sldId="2147483716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3398889512" sldId="2147483717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2696914006" sldId="2147483718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1869423187" sldId="2147483719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2406311520" sldId="2147483720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4260744060" sldId="2147483721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1857550057" sldId="2147483722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1562043681" sldId="2147483723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876322040" sldId="2147483724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1564583835" sldId="2147483725"/>
          </pc:sldLayoutMkLst>
        </pc:sldLayoutChg>
        <pc:sldLayoutChg chg="del">
          <pc:chgData name="Taufik Edy Sutanto, M.Sc.Tech.,Ph.D" userId="012573cc-7230-4d80-9d32-62cda141001e" providerId="ADAL" clId="{19C71DC1-CC08-4296-900B-C79FEBF10E33}" dt="2024-09-05T01:29:33.989" v="167" actId="47"/>
          <pc:sldLayoutMkLst>
            <pc:docMk/>
            <pc:sldMasterMk cId="1691662847" sldId="2147483714"/>
            <pc:sldLayoutMk cId="49050527" sldId="2147483726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1605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l">
              <a:defRPr sz="13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438458" y="0"/>
            <a:ext cx="41605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>
              <a:defRPr sz="13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1146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948171"/>
            <a:ext cx="41605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l">
              <a:defRPr sz="13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1146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438458" y="6948171"/>
            <a:ext cx="41605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>
              <a:defRPr sz="1300" b="0">
                <a:solidFill>
                  <a:schemeClr val="tx1"/>
                </a:solidFill>
              </a:defRPr>
            </a:lvl1pPr>
          </a:lstStyle>
          <a:p>
            <a:fld id="{46635348-DBEF-4695-B298-01E05397A04B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40022004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09-09T06:51:17.80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5 82 640 0 0,'3'1'2275'0'0,"1"-2"2997"0"0,-3 1-5308 0 0,0-1 0 0 0,0 0-1 0 0,0 0 1 0 0,0 0-1 0 0,0 0 1 0 0,0 0-1 0 0,0 0 1 0 0,0 0 0 0 0,0 0-1 0 0,-1-1 1 0 0,1 1-1 0 0,-1 0 1 0 0,1 0-1 0 0,-1-1 1 0 0,1 1 0 0 0,-1 0-1 0 0,0-1 1 0 0,1 1-1 0 0,-1 0 1 0 0,0-1-1 0 0,0 1 1 0 0,0-1 0 0 0,0 1-1 0 0,0 0 1 0 0,0-1 36 0 0,-1-1-395 0 0,1-1 0 0 0,-1 0 1 0 0,0 1-1 0 0,0 0 0 0 0,0-1 1 0 0,-1 1-1 0 0,1 0 1 0 0,-1-1-1 0 0,0 1 0 0 0,-1-2 395 0 0,-8-6-1874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1605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l">
              <a:defRPr sz="13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942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438458" y="0"/>
            <a:ext cx="41605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>
              <a:defRPr sz="13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942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971800" y="549275"/>
            <a:ext cx="3657600" cy="27432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942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60120" y="3474720"/>
            <a:ext cx="7680960" cy="3291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942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948171"/>
            <a:ext cx="41605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l">
              <a:defRPr sz="13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942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438458" y="6948171"/>
            <a:ext cx="41605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>
              <a:defRPr sz="1300" b="0">
                <a:solidFill>
                  <a:schemeClr val="tx1"/>
                </a:solidFill>
              </a:defRPr>
            </a:lvl1pPr>
          </a:lstStyle>
          <a:p>
            <a:fld id="{551FD892-07AC-4B6F-8844-47851227D720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8578571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4706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5377211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Slide Image Placeholder 1">
            <a:extLst>
              <a:ext uri="{FF2B5EF4-FFF2-40B4-BE49-F238E27FC236}">
                <a16:creationId xmlns:a16="http://schemas.microsoft.com/office/drawing/2014/main" id="{B55D4B71-A720-44E3-A4B9-2DFC9284DF0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1619" name="Notes Placeholder 2">
            <a:extLst>
              <a:ext uri="{FF2B5EF4-FFF2-40B4-BE49-F238E27FC236}">
                <a16:creationId xmlns:a16="http://schemas.microsoft.com/office/drawing/2014/main" id="{224E9583-F00C-46F3-A169-17363B8728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0950" y="3659909"/>
            <a:ext cx="7359253" cy="34665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475" tIns="49239" rIns="98475" bIns="49239"/>
          <a:lstStyle/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altLang="en-US" dirty="0"/>
              <a:t>Oil vs Data</a:t>
            </a:r>
          </a:p>
          <a:p>
            <a:pPr marL="181240" indent="-181240">
              <a:buFont typeface="Wingdings" panose="05000000000000000000" pitchFamily="2" charset="2"/>
              <a:buChar char="v"/>
            </a:pPr>
            <a:endParaRPr lang="en-US" altLang="en-US" dirty="0"/>
          </a:p>
        </p:txBody>
      </p:sp>
      <p:sp>
        <p:nvSpPr>
          <p:cNvPr id="111620" name="Slide Number Placeholder 3">
            <a:extLst>
              <a:ext uri="{FF2B5EF4-FFF2-40B4-BE49-F238E27FC236}">
                <a16:creationId xmlns:a16="http://schemas.microsoft.com/office/drawing/2014/main" id="{092AD252-8CA9-4B5D-A24D-0D2F2083099D}"/>
              </a:ext>
            </a:extLst>
          </p:cNvPr>
          <p:cNvSpPr txBox="1">
            <a:spLocks noGrp="1"/>
          </p:cNvSpPr>
          <p:nvPr/>
        </p:nvSpPr>
        <p:spPr bwMode="auto">
          <a:xfrm>
            <a:off x="5213152" y="7317185"/>
            <a:ext cx="3985917" cy="385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475" tIns="49239" rIns="98475" bIns="49239" anchor="b"/>
          <a:lstStyle>
            <a:lvl1pPr defTabSz="458788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7713" indent="-287338" defTabSz="458788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9350" indent="-230188" defTabSz="458788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8138" indent="-228600" defTabSz="458788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68513" indent="-230188" defTabSz="458788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25713" indent="-230188" defTabSz="458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82913" indent="-230188" defTabSz="458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40113" indent="-230188" defTabSz="458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97313" indent="-230188" defTabSz="458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defTabSz="484985">
              <a:defRPr/>
            </a:pPr>
            <a:fld id="{054FA920-1C9B-4CA5-BE6D-02A6A652AD0C}" type="slidenum">
              <a:rPr lang="en-US" altLang="en-US" sz="1300" b="0">
                <a:solidFill>
                  <a:srgbClr val="000000"/>
                </a:solidFill>
                <a:cs typeface="Arial" panose="020B0604020202020204" pitchFamily="34" charset="0"/>
              </a:rPr>
              <a:pPr algn="r" defTabSz="484985">
                <a:defRPr/>
              </a:pPr>
              <a:t>4</a:t>
            </a:fld>
            <a:endParaRPr lang="en-US" altLang="en-US" sz="1300" b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72931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8950103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8255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9963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28255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1589" indent="-191589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3593138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4706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1.xml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9" name="Freeform 17"/>
          <p:cNvSpPr>
            <a:spLocks/>
          </p:cNvSpPr>
          <p:nvPr/>
        </p:nvSpPr>
        <p:spPr bwMode="gray">
          <a:xfrm>
            <a:off x="-9525" y="1447800"/>
            <a:ext cx="9164638" cy="3832225"/>
          </a:xfrm>
          <a:custGeom>
            <a:avLst/>
            <a:gdLst/>
            <a:ahLst/>
            <a:cxnLst>
              <a:cxn ang="0">
                <a:pos x="12" y="124"/>
              </a:cxn>
              <a:cxn ang="0">
                <a:pos x="1381" y="12"/>
              </a:cxn>
              <a:cxn ang="0">
                <a:pos x="4064" y="581"/>
              </a:cxn>
              <a:cxn ang="0">
                <a:pos x="5773" y="118"/>
              </a:cxn>
              <a:cxn ang="0">
                <a:pos x="5766" y="2151"/>
              </a:cxn>
              <a:cxn ang="0">
                <a:pos x="3966" y="2263"/>
              </a:cxn>
              <a:cxn ang="0">
                <a:pos x="1963" y="1897"/>
              </a:cxn>
              <a:cxn ang="0">
                <a:pos x="6" y="2407"/>
              </a:cxn>
              <a:cxn ang="0">
                <a:pos x="12" y="124"/>
              </a:cxn>
            </a:cxnLst>
            <a:rect l="0" t="0" r="r" b="b"/>
            <a:pathLst>
              <a:path w="5773" h="2414">
                <a:moveTo>
                  <a:pt x="12" y="124"/>
                </a:moveTo>
                <a:cubicBezTo>
                  <a:pt x="150" y="76"/>
                  <a:pt x="581" y="0"/>
                  <a:pt x="1381" y="12"/>
                </a:cubicBezTo>
                <a:cubicBezTo>
                  <a:pt x="2181" y="23"/>
                  <a:pt x="3370" y="437"/>
                  <a:pt x="4064" y="581"/>
                </a:cubicBezTo>
                <a:cubicBezTo>
                  <a:pt x="4758" y="725"/>
                  <a:pt x="5635" y="219"/>
                  <a:pt x="5773" y="118"/>
                </a:cubicBezTo>
                <a:lnTo>
                  <a:pt x="5766" y="2151"/>
                </a:lnTo>
                <a:cubicBezTo>
                  <a:pt x="4994" y="2407"/>
                  <a:pt x="4326" y="2311"/>
                  <a:pt x="3966" y="2263"/>
                </a:cubicBezTo>
                <a:cubicBezTo>
                  <a:pt x="3606" y="2215"/>
                  <a:pt x="2715" y="1873"/>
                  <a:pt x="1963" y="1897"/>
                </a:cubicBezTo>
                <a:cubicBezTo>
                  <a:pt x="1305" y="1893"/>
                  <a:pt x="0" y="2402"/>
                  <a:pt x="6" y="2407"/>
                </a:cubicBezTo>
                <a:cubicBezTo>
                  <a:pt x="12" y="2414"/>
                  <a:pt x="12" y="568"/>
                  <a:pt x="12" y="124"/>
                </a:cubicBezTo>
                <a:close/>
              </a:path>
            </a:pathLst>
          </a:custGeom>
          <a:solidFill>
            <a:schemeClr val="accent1">
              <a:alpha val="41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090" name="Freeform 18"/>
          <p:cNvSpPr>
            <a:spLocks/>
          </p:cNvSpPr>
          <p:nvPr/>
        </p:nvSpPr>
        <p:spPr bwMode="gray">
          <a:xfrm>
            <a:off x="-9525" y="1730375"/>
            <a:ext cx="9150350" cy="3265488"/>
          </a:xfrm>
          <a:custGeom>
            <a:avLst/>
            <a:gdLst/>
            <a:ahLst/>
            <a:cxnLst>
              <a:cxn ang="0">
                <a:pos x="6" y="272"/>
              </a:cxn>
              <a:cxn ang="0">
                <a:pos x="1453" y="10"/>
              </a:cxn>
              <a:cxn ang="0">
                <a:pos x="4182" y="482"/>
              </a:cxn>
              <a:cxn ang="0">
                <a:pos x="5764" y="154"/>
              </a:cxn>
              <a:cxn ang="0">
                <a:pos x="5764" y="1806"/>
              </a:cxn>
              <a:cxn ang="0">
                <a:pos x="4005" y="1994"/>
              </a:cxn>
              <a:cxn ang="0">
                <a:pos x="1891" y="1522"/>
              </a:cxn>
              <a:cxn ang="0">
                <a:pos x="6" y="1967"/>
              </a:cxn>
              <a:cxn ang="0">
                <a:pos x="6" y="272"/>
              </a:cxn>
            </a:cxnLst>
            <a:rect l="0" t="0" r="r" b="b"/>
            <a:pathLst>
              <a:path w="5764" h="2057">
                <a:moveTo>
                  <a:pt x="6" y="272"/>
                </a:moveTo>
                <a:cubicBezTo>
                  <a:pt x="144" y="233"/>
                  <a:pt x="656" y="0"/>
                  <a:pt x="1453" y="10"/>
                </a:cubicBezTo>
                <a:cubicBezTo>
                  <a:pt x="2250" y="20"/>
                  <a:pt x="3475" y="403"/>
                  <a:pt x="4182" y="482"/>
                </a:cubicBezTo>
                <a:cubicBezTo>
                  <a:pt x="4890" y="561"/>
                  <a:pt x="5626" y="237"/>
                  <a:pt x="5764" y="154"/>
                </a:cubicBezTo>
                <a:lnTo>
                  <a:pt x="5764" y="1806"/>
                </a:lnTo>
                <a:cubicBezTo>
                  <a:pt x="4919" y="2052"/>
                  <a:pt x="4485" y="2057"/>
                  <a:pt x="4005" y="1994"/>
                </a:cubicBezTo>
                <a:cubicBezTo>
                  <a:pt x="3526" y="1929"/>
                  <a:pt x="2640" y="1502"/>
                  <a:pt x="1891" y="1522"/>
                </a:cubicBezTo>
                <a:cubicBezTo>
                  <a:pt x="1234" y="1519"/>
                  <a:pt x="0" y="1962"/>
                  <a:pt x="6" y="1967"/>
                </a:cubicBezTo>
                <a:cubicBezTo>
                  <a:pt x="12" y="1972"/>
                  <a:pt x="6" y="641"/>
                  <a:pt x="6" y="272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3091" name="Group 19"/>
          <p:cNvGrpSpPr>
            <a:grpSpLocks/>
          </p:cNvGrpSpPr>
          <p:nvPr/>
        </p:nvGrpSpPr>
        <p:grpSpPr bwMode="auto">
          <a:xfrm>
            <a:off x="7086600" y="1947863"/>
            <a:ext cx="533400" cy="533400"/>
            <a:chOff x="4752" y="1200"/>
            <a:chExt cx="288" cy="288"/>
          </a:xfrm>
        </p:grpSpPr>
        <p:sp>
          <p:nvSpPr>
            <p:cNvPr id="3092" name="Oval 20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tx2">
                    <a:gamma/>
                    <a:tint val="25490"/>
                    <a:invGamma/>
                  </a:schemeClr>
                </a:gs>
                <a:gs pos="100000">
                  <a:schemeClr val="tx2">
                    <a:alpha val="3100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3" name="Oval 21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192" cy="192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094" name="Group 22"/>
          <p:cNvGrpSpPr>
            <a:grpSpLocks/>
          </p:cNvGrpSpPr>
          <p:nvPr/>
        </p:nvGrpSpPr>
        <p:grpSpPr bwMode="auto">
          <a:xfrm>
            <a:off x="7620000" y="1371600"/>
            <a:ext cx="914400" cy="914400"/>
            <a:chOff x="4992" y="816"/>
            <a:chExt cx="576" cy="576"/>
          </a:xfrm>
        </p:grpSpPr>
        <p:sp>
          <p:nvSpPr>
            <p:cNvPr id="3095" name="Oval 23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accent1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6" name="Oval 24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097" name="Group 25"/>
          <p:cNvGrpSpPr>
            <a:grpSpLocks/>
          </p:cNvGrpSpPr>
          <p:nvPr/>
        </p:nvGrpSpPr>
        <p:grpSpPr bwMode="auto">
          <a:xfrm>
            <a:off x="304800" y="3429000"/>
            <a:ext cx="1295400" cy="1371600"/>
            <a:chOff x="4992" y="816"/>
            <a:chExt cx="576" cy="576"/>
          </a:xfrm>
        </p:grpSpPr>
        <p:sp>
          <p:nvSpPr>
            <p:cNvPr id="3098" name="Oval 26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tx2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9" name="Oval 27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659563" y="6453188"/>
            <a:ext cx="2133600" cy="24447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fld id="{A69801A0-FC71-49C8-A638-6AA7FC051D8D}" type="slidenum">
              <a:rPr lang="ko-KR" altLang="en-US"/>
              <a:pPr/>
              <a:t>‹#›</a:t>
            </a:fld>
            <a:endParaRPr lang="en-US" altLang="ko-KR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3000" y="2590800"/>
            <a:ext cx="7086600" cy="1012825"/>
          </a:xfrm>
          <a:effectLst>
            <a:outerShdw dist="53882" dir="2700000" algn="ctr" rotWithShape="0">
              <a:schemeClr val="tx1"/>
            </a:outerShdw>
          </a:effectLst>
        </p:spPr>
        <p:txBody>
          <a:bodyPr/>
          <a:lstStyle>
            <a:lvl1pPr>
              <a:defRPr sz="48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295400" y="3581400"/>
            <a:ext cx="6705600" cy="3810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000"/>
            </a:lvl1pPr>
          </a:lstStyle>
          <a:p>
            <a:r>
              <a:rPr lang="ko-KR" altLang="en-US"/>
              <a:t>마스터 부제목 스타일 편집</a:t>
            </a:r>
          </a:p>
        </p:txBody>
      </p:sp>
      <p:pic>
        <p:nvPicPr>
          <p:cNvPr id="3100" name="Picture 28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13" y="5445125"/>
            <a:ext cx="685800" cy="904875"/>
          </a:xfrm>
          <a:prstGeom prst="rect">
            <a:avLst/>
          </a:prstGeom>
          <a:noFill/>
        </p:spPr>
      </p:pic>
      <p:sp>
        <p:nvSpPr>
          <p:cNvPr id="3101" name="Rectangle 29"/>
          <p:cNvSpPr>
            <a:spLocks noGrp="1" noChangeArrowheads="1"/>
          </p:cNvSpPr>
          <p:nvPr>
            <p:ph type="ftr" sz="quarter" idx="3"/>
          </p:nvPr>
        </p:nvSpPr>
        <p:spPr>
          <a:xfrm>
            <a:off x="5148263" y="404813"/>
            <a:ext cx="3536950" cy="5032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ko-KR" dirty="0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82DB223-DFC4-41AE-B332-E02C0A24D22B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85800"/>
            <a:ext cx="2057400" cy="5638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85800"/>
            <a:ext cx="6019800" cy="5638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6CCB9B-C5BD-4D89-9E55-87443AAAD778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85800"/>
            <a:ext cx="7391400" cy="563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828800"/>
            <a:ext cx="40386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8800"/>
            <a:ext cx="40386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553200" y="6400800"/>
            <a:ext cx="2133600" cy="320675"/>
          </a:xfrm>
        </p:spPr>
        <p:txBody>
          <a:bodyPr/>
          <a:lstStyle>
            <a:lvl1pPr>
              <a:defRPr/>
            </a:lvl1pPr>
          </a:lstStyle>
          <a:p>
            <a:fld id="{681B4CF2-5324-4D9D-B577-5987269D2D11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309516"/>
      </p:ext>
    </p:extLst>
  </p:cSld>
  <p:clrMapOvr>
    <a:masterClrMapping/>
  </p:clrMapOvr>
  <mc:AlternateContent xmlns:mc="http://schemas.openxmlformats.org/markup-compatibility/2006">
    <mc:Choice xmlns:p14="http://schemas.microsoft.com/office/powerpoint/2007/7/12/main" xmlns="" Requires="p14">
      <p:transition xmlns:p141="http://schemas.microsoft.com/office/powerpoint/2010/main" spd="slow" p141:dur="1700">
        <p141:gallery dir="l"/>
      </p:transition>
    </mc:Choice>
    <mc:Fallback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0184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7535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3258365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5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3466411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5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811895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5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9257730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F28B1D5-92E4-4F78-9D94-6A89CBF4DF43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402666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706339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106917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6"/>
            <a:ext cx="1971675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6"/>
            <a:ext cx="5800725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588163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1" y="44451"/>
            <a:ext cx="6760029" cy="826407"/>
          </a:xfrm>
        </p:spPr>
        <p:txBody>
          <a:bodyPr/>
          <a:lstStyle>
            <a:lvl1pPr algn="l">
              <a:defRPr sz="240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pic>
        <p:nvPicPr>
          <p:cNvPr id="4" name="Picture 5" descr="QUTlogo2955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22" y="6368844"/>
            <a:ext cx="430212" cy="425451"/>
          </a:xfrm>
          <a:prstGeom prst="rect">
            <a:avLst/>
          </a:prstGeom>
          <a:noFill/>
          <a:effectLst/>
        </p:spPr>
      </p:pic>
      <p:sp>
        <p:nvSpPr>
          <p:cNvPr id="6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8523514" y="6421462"/>
            <a:ext cx="5395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76B7632-FD52-4BE2-A8C8-D079E7090294}" type="slidenum">
              <a:rPr lang="en-AU" smtClean="0"/>
              <a:pPr>
                <a:defRPr/>
              </a:pPr>
              <a:t>‹#›</a:t>
            </a:fld>
            <a:endParaRPr lang="en-AU" dirty="0"/>
          </a:p>
        </p:txBody>
      </p:sp>
      <p:sp>
        <p:nvSpPr>
          <p:cNvPr id="14" name="Action Button: Home 13">
            <a:hlinkClick r:id="" action="ppaction://hlinkshowjump?jump=firstslide" highlightClick="1"/>
          </p:cNvPr>
          <p:cNvSpPr/>
          <p:nvPr userDrawn="1"/>
        </p:nvSpPr>
        <p:spPr bwMode="auto">
          <a:xfrm>
            <a:off x="565340" y="6433470"/>
            <a:ext cx="406334" cy="292999"/>
          </a:xfrm>
          <a:prstGeom prst="actionButtonHom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Curved Up Ribbon 18"/>
          <p:cNvSpPr/>
          <p:nvPr userDrawn="1"/>
        </p:nvSpPr>
        <p:spPr bwMode="auto">
          <a:xfrm>
            <a:off x="77698" y="169081"/>
            <a:ext cx="1723541" cy="538492"/>
          </a:xfrm>
          <a:prstGeom prst="ellipseRibbon2">
            <a:avLst/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1350" b="1" dirty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"/>
          </p:nvPr>
        </p:nvSpPr>
        <p:spPr>
          <a:xfrm>
            <a:off x="500034" y="1273635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3" name="Pentagon 22">
            <a:hlinkClick r:id="" action="ppaction://noaction"/>
          </p:cNvPr>
          <p:cNvSpPr/>
          <p:nvPr userDrawn="1"/>
        </p:nvSpPr>
        <p:spPr bwMode="auto">
          <a:xfrm>
            <a:off x="1033437" y="6434161"/>
            <a:ext cx="751814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</a:t>
            </a:r>
          </a:p>
        </p:txBody>
      </p:sp>
      <p:sp>
        <p:nvSpPr>
          <p:cNvPr id="24" name="Pentagon 23">
            <a:hlinkClick r:id="" action="ppaction://noaction"/>
          </p:cNvPr>
          <p:cNvSpPr/>
          <p:nvPr userDrawn="1"/>
        </p:nvSpPr>
        <p:spPr bwMode="auto">
          <a:xfrm>
            <a:off x="1861454" y="6445952"/>
            <a:ext cx="1240977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LITERATURE</a:t>
            </a:r>
          </a:p>
        </p:txBody>
      </p:sp>
      <p:sp>
        <p:nvSpPr>
          <p:cNvPr id="26" name="Pentagon 25">
            <a:hlinkClick r:id="" action="ppaction://noaction"/>
          </p:cNvPr>
          <p:cNvSpPr/>
          <p:nvPr userDrawn="1"/>
        </p:nvSpPr>
        <p:spPr bwMode="auto">
          <a:xfrm>
            <a:off x="5334023" y="6446301"/>
            <a:ext cx="707565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LAN</a:t>
            </a:r>
          </a:p>
        </p:txBody>
      </p:sp>
      <p:sp>
        <p:nvSpPr>
          <p:cNvPr id="27" name="Pentagon 26">
            <a:hlinkClick r:id="" action="ppaction://noaction"/>
          </p:cNvPr>
          <p:cNvSpPr/>
          <p:nvPr userDrawn="1"/>
        </p:nvSpPr>
        <p:spPr bwMode="auto">
          <a:xfrm>
            <a:off x="6096025" y="6445952"/>
            <a:ext cx="1229365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GRESS</a:t>
            </a:r>
          </a:p>
        </p:txBody>
      </p:sp>
      <p:sp>
        <p:nvSpPr>
          <p:cNvPr id="28" name="Pentagon 27">
            <a:hlinkClick r:id="" action="ppaction://noaction"/>
          </p:cNvPr>
          <p:cNvSpPr/>
          <p:nvPr userDrawn="1"/>
        </p:nvSpPr>
        <p:spPr bwMode="auto">
          <a:xfrm>
            <a:off x="7379820" y="6445952"/>
            <a:ext cx="1100159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SUMMARY</a:t>
            </a:r>
          </a:p>
        </p:txBody>
      </p:sp>
      <p:sp>
        <p:nvSpPr>
          <p:cNvPr id="29" name="Pentagon 28">
            <a:hlinkClick r:id="" action="ppaction://noaction"/>
          </p:cNvPr>
          <p:cNvSpPr/>
          <p:nvPr userDrawn="1"/>
        </p:nvSpPr>
        <p:spPr bwMode="auto">
          <a:xfrm>
            <a:off x="3167741" y="6446301"/>
            <a:ext cx="2100964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BLEM </a:t>
            </a:r>
            <a:r>
              <a:rPr lang="en-AU" sz="900" b="1" kern="1200" baseline="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&amp; OBJECTIVE</a:t>
            </a:r>
            <a:endParaRPr lang="en-AU" sz="900" b="1" kern="12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42622297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QUTlogo2955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22" y="6368844"/>
            <a:ext cx="430212" cy="425451"/>
          </a:xfrm>
          <a:prstGeom prst="rect">
            <a:avLst/>
          </a:prstGeom>
          <a:noFill/>
          <a:effectLst/>
        </p:spPr>
      </p:pic>
      <p:sp>
        <p:nvSpPr>
          <p:cNvPr id="6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8523514" y="6421462"/>
            <a:ext cx="5395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76B7632-FD52-4BE2-A8C8-D079E7090294}" type="slidenum">
              <a:rPr lang="en-AU" smtClean="0"/>
              <a:pPr>
                <a:defRPr/>
              </a:pPr>
              <a:t>‹#›</a:t>
            </a:fld>
            <a:endParaRPr lang="en-AU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035631" y="44451"/>
            <a:ext cx="6705599" cy="826407"/>
          </a:xfrm>
        </p:spPr>
        <p:txBody>
          <a:bodyPr/>
          <a:lstStyle>
            <a:lvl1pPr algn="l">
              <a:defRPr sz="240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6" name="Curved Up Ribbon 15"/>
          <p:cNvSpPr/>
          <p:nvPr userDrawn="1"/>
        </p:nvSpPr>
        <p:spPr bwMode="auto">
          <a:xfrm>
            <a:off x="54427" y="169081"/>
            <a:ext cx="1883232" cy="538492"/>
          </a:xfrm>
          <a:prstGeom prst="ellipseRibbon2">
            <a:avLst>
              <a:gd name="adj1" fmla="val 25000"/>
              <a:gd name="adj2" fmla="val 100000"/>
              <a:gd name="adj3" fmla="val 12500"/>
            </a:avLst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1200" b="1" dirty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LITERATURE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500034" y="1273635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9" name="Action Button: Home 28">
            <a:hlinkClick r:id="" action="ppaction://hlinkshowjump?jump=firstslide" highlightClick="1"/>
          </p:cNvPr>
          <p:cNvSpPr/>
          <p:nvPr userDrawn="1"/>
        </p:nvSpPr>
        <p:spPr bwMode="auto">
          <a:xfrm>
            <a:off x="565340" y="6433470"/>
            <a:ext cx="406334" cy="292999"/>
          </a:xfrm>
          <a:prstGeom prst="actionButtonHom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Pentagon 36">
            <a:hlinkClick r:id="" action="ppaction://noaction"/>
          </p:cNvPr>
          <p:cNvSpPr/>
          <p:nvPr userDrawn="1"/>
        </p:nvSpPr>
        <p:spPr bwMode="auto">
          <a:xfrm>
            <a:off x="1033437" y="6434161"/>
            <a:ext cx="751814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</a:t>
            </a:r>
          </a:p>
        </p:txBody>
      </p:sp>
      <p:sp>
        <p:nvSpPr>
          <p:cNvPr id="38" name="Pentagon 37">
            <a:hlinkClick r:id="" action="ppaction://noaction"/>
          </p:cNvPr>
          <p:cNvSpPr/>
          <p:nvPr userDrawn="1"/>
        </p:nvSpPr>
        <p:spPr bwMode="auto">
          <a:xfrm>
            <a:off x="1861454" y="6445952"/>
            <a:ext cx="1240977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LITERATURE</a:t>
            </a:r>
          </a:p>
        </p:txBody>
      </p:sp>
      <p:sp>
        <p:nvSpPr>
          <p:cNvPr id="39" name="Pentagon 38">
            <a:hlinkClick r:id="rId3" action="ppaction://hlinksldjump"/>
          </p:cNvPr>
          <p:cNvSpPr/>
          <p:nvPr userDrawn="1"/>
        </p:nvSpPr>
        <p:spPr bwMode="auto">
          <a:xfrm>
            <a:off x="5334023" y="6446301"/>
            <a:ext cx="707565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LAN</a:t>
            </a:r>
          </a:p>
        </p:txBody>
      </p:sp>
      <p:sp>
        <p:nvSpPr>
          <p:cNvPr id="40" name="Pentagon 39">
            <a:hlinkClick r:id="" action="ppaction://noaction"/>
          </p:cNvPr>
          <p:cNvSpPr/>
          <p:nvPr userDrawn="1"/>
        </p:nvSpPr>
        <p:spPr bwMode="auto">
          <a:xfrm>
            <a:off x="6096025" y="6445952"/>
            <a:ext cx="1229365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GRESS</a:t>
            </a:r>
          </a:p>
        </p:txBody>
      </p:sp>
      <p:sp>
        <p:nvSpPr>
          <p:cNvPr id="41" name="Pentagon 40">
            <a:hlinkClick r:id="" action="ppaction://noaction"/>
          </p:cNvPr>
          <p:cNvSpPr/>
          <p:nvPr userDrawn="1"/>
        </p:nvSpPr>
        <p:spPr bwMode="auto">
          <a:xfrm>
            <a:off x="7379820" y="6445952"/>
            <a:ext cx="1100159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SUMMARY</a:t>
            </a:r>
          </a:p>
        </p:txBody>
      </p:sp>
      <p:sp>
        <p:nvSpPr>
          <p:cNvPr id="42" name="Pentagon 41">
            <a:hlinkClick r:id="rId3" action="ppaction://hlinksldjump"/>
          </p:cNvPr>
          <p:cNvSpPr/>
          <p:nvPr userDrawn="1"/>
        </p:nvSpPr>
        <p:spPr bwMode="auto">
          <a:xfrm>
            <a:off x="3167741" y="6446301"/>
            <a:ext cx="2100964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BLEM </a:t>
            </a:r>
            <a:r>
              <a:rPr lang="en-AU" sz="900" b="1" kern="1200" baseline="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&amp; OBJECTIVE</a:t>
            </a:r>
            <a:endParaRPr lang="en-AU" sz="900" b="1" kern="12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16572622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590800"/>
            <a:ext cx="9144000" cy="12954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20700" dir="2700000" algn="t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1831" y="2929552"/>
            <a:ext cx="4837113" cy="681037"/>
          </a:xfrm>
        </p:spPr>
        <p:txBody>
          <a:bodyPr anchor="t">
            <a:noAutofit/>
          </a:bodyPr>
          <a:lstStyle>
            <a:lvl1pPr algn="l">
              <a:defRPr lang="en-US" sz="2500" b="1" kern="1200" cap="small" baseline="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550040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590800"/>
            <a:ext cx="9144000" cy="12954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20700" dir="2700000" algn="t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1831" y="2929552"/>
            <a:ext cx="4837113" cy="681037"/>
          </a:xfrm>
        </p:spPr>
        <p:txBody>
          <a:bodyPr anchor="t">
            <a:noAutofit/>
          </a:bodyPr>
          <a:lstStyle>
            <a:lvl1pPr algn="l">
              <a:defRPr lang="en-US" sz="2500" b="1" kern="1200" cap="small" baseline="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488768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590800"/>
            <a:ext cx="9144000" cy="12954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20700" dir="2700000" algn="t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1831" y="2929552"/>
            <a:ext cx="4837113" cy="681037"/>
          </a:xfrm>
        </p:spPr>
        <p:txBody>
          <a:bodyPr anchor="t">
            <a:noAutofit/>
          </a:bodyPr>
          <a:lstStyle>
            <a:lvl1pPr algn="l">
              <a:defRPr lang="en-US" sz="2500" b="1" kern="1200" cap="small" baseline="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485619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590800"/>
            <a:ext cx="9144000" cy="12954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20700" dir="2700000" algn="t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1831" y="2929552"/>
            <a:ext cx="4837113" cy="681037"/>
          </a:xfrm>
        </p:spPr>
        <p:txBody>
          <a:bodyPr anchor="t">
            <a:noAutofit/>
          </a:bodyPr>
          <a:lstStyle>
            <a:lvl1pPr algn="l">
              <a:defRPr lang="en-US" sz="2500" b="1" kern="1200" cap="small" baseline="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9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705048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23AE634-78D5-439A-9656-45CFA5AB1F26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9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135466"/>
      </p:ext>
    </p:extLst>
  </p:cSld>
  <p:clrMapOvr>
    <a:masterClrMapping/>
  </p:clrMapOvr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9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013970"/>
      </p:ext>
    </p:extLst>
  </p:cSld>
  <p:clrMapOvr>
    <a:masterClrMapping/>
  </p:clrMapOvr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9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9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9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015519"/>
      </p:ext>
    </p:extLst>
  </p:cSld>
  <p:clrMapOvr>
    <a:masterClrMapping/>
  </p:clrMapOvr>
  <p:hf sldNum="0"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9/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905313"/>
      </p:ext>
    </p:extLst>
  </p:cSld>
  <p:clrMapOvr>
    <a:masterClrMapping/>
  </p:clrMapOvr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9/5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568758"/>
      </p:ext>
    </p:extLst>
  </p:cSld>
  <p:clrMapOvr>
    <a:masterClrMapping/>
  </p:clrMapOvr>
  <p:hf sldNum="0"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9/5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116856"/>
      </p:ext>
    </p:extLst>
  </p:cSld>
  <p:clrMapOvr>
    <a:masterClrMapping/>
  </p:clrMapOvr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7913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B9BB4F3-94B7-480D-B9BE-076AE2456976}"/>
              </a:ext>
            </a:extLst>
          </p:cNvPr>
          <p:cNvSpPr/>
          <p:nvPr userDrawn="1"/>
        </p:nvSpPr>
        <p:spPr>
          <a:xfrm>
            <a:off x="1" y="0"/>
            <a:ext cx="5281684" cy="656457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7"/>
          </a:p>
        </p:txBody>
      </p:sp>
    </p:spTree>
    <p:extLst>
      <p:ext uri="{BB962C8B-B14F-4D97-AF65-F5344CB8AC3E}">
        <p14:creationId xmlns:p14="http://schemas.microsoft.com/office/powerpoint/2010/main" val="11041770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" name="Group 11">
            <a:extLst>
              <a:ext uri="{FF2B5EF4-FFF2-40B4-BE49-F238E27FC236}">
                <a16:creationId xmlns:a16="http://schemas.microsoft.com/office/drawing/2014/main" id="{45A4857F-AF3E-4BE5-A345-D41FE0BE4AE0}"/>
              </a:ext>
            </a:extLst>
          </p:cNvPr>
          <p:cNvGrpSpPr/>
          <p:nvPr userDrawn="1"/>
        </p:nvGrpSpPr>
        <p:grpSpPr>
          <a:xfrm>
            <a:off x="1" y="218363"/>
            <a:ext cx="5907311" cy="532216"/>
            <a:chOff x="0" y="254835"/>
            <a:chExt cx="6251557" cy="63071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26A8C8D-CC9C-411B-BC79-CCDF268A155C}"/>
                </a:ext>
              </a:extLst>
            </p:cNvPr>
            <p:cNvSpPr/>
            <p:nvPr/>
          </p:nvSpPr>
          <p:spPr>
            <a:xfrm>
              <a:off x="382275" y="254835"/>
              <a:ext cx="5869282" cy="62958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55">
                <a:defRPr/>
              </a:pPr>
              <a:endParaRPr lang="id-ID" sz="120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33EF430-B6A5-4185-AE1D-C9F96240810B}"/>
                </a:ext>
              </a:extLst>
            </p:cNvPr>
            <p:cNvSpPr/>
            <p:nvPr/>
          </p:nvSpPr>
          <p:spPr>
            <a:xfrm>
              <a:off x="0" y="255966"/>
              <a:ext cx="382276" cy="629586"/>
            </a:xfrm>
            <a:prstGeom prst="rect">
              <a:avLst/>
            </a:prstGeom>
            <a:solidFill>
              <a:srgbClr val="33498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55">
                <a:defRPr/>
              </a:pPr>
              <a:endParaRPr lang="id-ID" sz="12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Title 1">
              <a:extLst>
                <a:ext uri="{FF2B5EF4-FFF2-40B4-BE49-F238E27FC236}">
                  <a16:creationId xmlns:a16="http://schemas.microsoft.com/office/drawing/2014/main" id="{ABBCA183-4C40-499F-846B-22E6C2419642}"/>
                </a:ext>
              </a:extLst>
            </p:cNvPr>
            <p:cNvSpPr txBox="1">
              <a:spLocks/>
            </p:cNvSpPr>
            <p:nvPr/>
          </p:nvSpPr>
          <p:spPr>
            <a:xfrm>
              <a:off x="644609" y="254835"/>
              <a:ext cx="5209082" cy="629587"/>
            </a:xfrm>
            <a:prstGeom prst="rect">
              <a:avLst/>
            </a:prstGeom>
          </p:spPr>
          <p:txBody>
            <a:bodyPr anchor="ctr">
              <a:noAutofit/>
            </a:bodyPr>
            <a:lstStyle/>
            <a:p>
              <a:pPr lvl="0">
                <a:buSzPct val="25000"/>
              </a:pPr>
              <a:endParaRPr lang="en-US" sz="3200" b="1" dirty="0">
                <a:solidFill>
                  <a:srgbClr val="33498D"/>
                </a:solidFill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4098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871199-0909-4F62-8375-503689002F26}"/>
              </a:ext>
            </a:extLst>
          </p:cNvPr>
          <p:cNvSpPr/>
          <p:nvPr userDrawn="1"/>
        </p:nvSpPr>
        <p:spPr>
          <a:xfrm>
            <a:off x="-174008" y="146889"/>
            <a:ext cx="5912427" cy="113599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63220E-834D-4C97-BDFC-C893B3371478}"/>
              </a:ext>
            </a:extLst>
          </p:cNvPr>
          <p:cNvCxnSpPr>
            <a:cxnSpLocks/>
          </p:cNvCxnSpPr>
          <p:nvPr userDrawn="1"/>
        </p:nvCxnSpPr>
        <p:spPr>
          <a:xfrm>
            <a:off x="-550718" y="852439"/>
            <a:ext cx="4774375" cy="0"/>
          </a:xfrm>
          <a:prstGeom prst="line">
            <a:avLst/>
          </a:prstGeom>
          <a:ln>
            <a:solidFill>
              <a:srgbClr val="33498D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80AC9D40-7382-46A2-93FD-17082B7706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8595" y="287379"/>
            <a:ext cx="4765833" cy="479425"/>
          </a:xfrm>
        </p:spPr>
        <p:txBody>
          <a:bodyPr>
            <a:noAutofit/>
          </a:bodyPr>
          <a:lstStyle>
            <a:lvl1pPr>
              <a:defRPr b="1">
                <a:latin typeface="Calibri (Body)"/>
              </a:defRPr>
            </a:lvl1pPr>
          </a:lstStyle>
          <a:p>
            <a:endParaRPr lang="en-US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239508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288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88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8CAA1C5-3A62-489F-8CF3-418F170627FA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871199-0909-4F62-8375-503689002F26}"/>
              </a:ext>
            </a:extLst>
          </p:cNvPr>
          <p:cNvSpPr/>
          <p:nvPr userDrawn="1"/>
        </p:nvSpPr>
        <p:spPr>
          <a:xfrm>
            <a:off x="-174008" y="146889"/>
            <a:ext cx="5912427" cy="88362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0AC9D40-7382-46A2-93FD-17082B7706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8595" y="330921"/>
            <a:ext cx="4765833" cy="479425"/>
          </a:xfrm>
        </p:spPr>
        <p:txBody>
          <a:bodyPr>
            <a:noAutofit/>
          </a:bodyPr>
          <a:lstStyle>
            <a:lvl1pPr>
              <a:defRPr b="1">
                <a:latin typeface="Calibri (Body)"/>
              </a:defRPr>
            </a:lvl1pPr>
          </a:lstStyle>
          <a:p>
            <a:endParaRPr lang="en-US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067800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1"/>
            <a:ext cx="294917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9/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492443"/>
      </p:ext>
    </p:extLst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891" indent="0">
              <a:buNone/>
              <a:defRPr sz="2100"/>
            </a:lvl2pPr>
            <a:lvl3pPr marL="685783" indent="0">
              <a:buNone/>
              <a:defRPr sz="1800"/>
            </a:lvl3pPr>
            <a:lvl4pPr marL="1028674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9" indent="0">
              <a:buNone/>
              <a:defRPr sz="1500"/>
            </a:lvl7pPr>
            <a:lvl8pPr marL="2400240" indent="0">
              <a:buNone/>
              <a:defRPr sz="1500"/>
            </a:lvl8pPr>
            <a:lvl9pPr marL="2743131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1"/>
            <a:ext cx="294917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9/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149035"/>
      </p:ext>
    </p:extLst>
  </p:cSld>
  <p:clrMapOvr>
    <a:masterClrMapping/>
  </p:clrMapOvr>
  <p:hf sldNum="0"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9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9485025"/>
      </p:ext>
    </p:extLst>
  </p:cSld>
  <p:clrMapOvr>
    <a:masterClrMapping/>
  </p:clrMapOvr>
  <p:hf sldNum="0"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6"/>
            <a:ext cx="1971675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6"/>
            <a:ext cx="5800725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9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742920"/>
      </p:ext>
    </p:extLst>
  </p:cSld>
  <p:clrMapOvr>
    <a:masterClrMapping/>
  </p:clrMapOvr>
  <p:hf sldNum="0"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>
          <a:xfrm>
            <a:off x="0" y="220098"/>
            <a:ext cx="220701" cy="487692"/>
          </a:xfrm>
          <a:prstGeom prst="rect">
            <a:avLst/>
          </a:prstGeom>
          <a:solidFill>
            <a:srgbClr val="3349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4EA879E-2128-4032-AE0E-C995E5C555EA}"/>
              </a:ext>
            </a:extLst>
          </p:cNvPr>
          <p:cNvSpPr/>
          <p:nvPr userDrawn="1"/>
        </p:nvSpPr>
        <p:spPr>
          <a:xfrm>
            <a:off x="256706" y="163822"/>
            <a:ext cx="5631476" cy="600243"/>
          </a:xfrm>
          <a:prstGeom prst="roundRect">
            <a:avLst/>
          </a:prstGeom>
          <a:noFill/>
          <a:ln>
            <a:solidFill>
              <a:srgbClr val="33498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603078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449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1015990"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</a:defRPr>
            </a:lvl1pPr>
          </a:lstStyle>
          <a:p>
            <a:pPr>
              <a:defRPr/>
            </a:pPr>
            <a:fld id="{D2D6596F-891C-4E5A-A540-9B396B32324F}" type="datetime1">
              <a:rPr lang="id-ID"/>
              <a:pPr>
                <a:defRPr/>
              </a:pPr>
              <a:t>05/09/2024</a:t>
            </a:fld>
            <a:endParaRPr lang="id-ID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1015990"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</a:defRPr>
            </a:lvl1pPr>
          </a:lstStyle>
          <a:p>
            <a:pPr>
              <a:defRPr/>
            </a:pPr>
            <a:r>
              <a:rPr lang="id-ID"/>
              <a:t>www.hasnulsuhaimi.com</a:t>
            </a: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1015990">
              <a:defRPr>
                <a:latin typeface="Tahoma" panose="020B0604030504040204" pitchFamily="34" charset="0"/>
              </a:defRPr>
            </a:lvl1pPr>
          </a:lstStyle>
          <a:p>
            <a:pPr>
              <a:defRPr/>
            </a:pPr>
            <a:fld id="{0F8ED778-6155-4B44-AD86-0F293272E7BF}" type="slidenum">
              <a:rPr lang="id-ID" altLang="en-US"/>
              <a:pPr>
                <a:defRPr/>
              </a:pPr>
              <a:t>‹#›</a:t>
            </a:fld>
            <a:endParaRPr lang="id-ID" altLang="en-US"/>
          </a:p>
        </p:txBody>
      </p:sp>
    </p:spTree>
    <p:extLst>
      <p:ext uri="{BB962C8B-B14F-4D97-AF65-F5344CB8AC3E}">
        <p14:creationId xmlns:p14="http://schemas.microsoft.com/office/powerpoint/2010/main" val="262979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9830707-1A39-4C0E-927E-E75C766FB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68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9830707-1A39-4C0E-927E-E75C766FBA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68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155" y="381000"/>
            <a:ext cx="7202900" cy="685800"/>
          </a:xfrm>
        </p:spPr>
        <p:txBody>
          <a:bodyPr>
            <a:normAutofit/>
          </a:bodyPr>
          <a:lstStyle>
            <a:lvl1pPr>
              <a:defRPr sz="258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18 – Proprietary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1F2B8-D07C-4A88-BB9A-3DABFE629FD3}" type="slidenum">
              <a:rPr lang="en-US" smtClean="0"/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" y="0"/>
            <a:ext cx="3481756" cy="6863909"/>
            <a:chOff x="-1" y="0"/>
            <a:chExt cx="3771902" cy="6863909"/>
          </a:xfrm>
        </p:grpSpPr>
        <p:grpSp>
          <p:nvGrpSpPr>
            <p:cNvPr id="16" name="Group 15"/>
            <p:cNvGrpSpPr/>
            <p:nvPr userDrawn="1"/>
          </p:nvGrpSpPr>
          <p:grpSpPr>
            <a:xfrm>
              <a:off x="1" y="1363376"/>
              <a:ext cx="3771900" cy="5494623"/>
              <a:chOff x="-1" y="707655"/>
              <a:chExt cx="4228367" cy="6159570"/>
            </a:xfrm>
            <a:gradFill>
              <a:gsLst>
                <a:gs pos="31000">
                  <a:schemeClr val="bg1">
                    <a:lumMod val="95000"/>
                    <a:alpha val="24000"/>
                  </a:schemeClr>
                </a:gs>
                <a:gs pos="96000">
                  <a:schemeClr val="bg1">
                    <a:lumMod val="95000"/>
                    <a:alpha val="36000"/>
                  </a:schemeClr>
                </a:gs>
              </a:gsLst>
              <a:lin ang="0" scaled="0"/>
            </a:gradFill>
          </p:grpSpPr>
          <p:sp>
            <p:nvSpPr>
              <p:cNvPr id="20" name="Freeform 929"/>
              <p:cNvSpPr>
                <a:spLocks/>
              </p:cNvSpPr>
              <p:nvPr userDrawn="1"/>
            </p:nvSpPr>
            <p:spPr bwMode="auto">
              <a:xfrm>
                <a:off x="2928605" y="2775831"/>
                <a:ext cx="1299761" cy="588575"/>
              </a:xfrm>
              <a:custGeom>
                <a:avLst/>
                <a:gdLst>
                  <a:gd name="T0" fmla="*/ 0 w 318"/>
                  <a:gd name="T1" fmla="*/ 92 h 144"/>
                  <a:gd name="T2" fmla="*/ 112 w 318"/>
                  <a:gd name="T3" fmla="*/ 0 h 144"/>
                  <a:gd name="T4" fmla="*/ 318 w 318"/>
                  <a:gd name="T5" fmla="*/ 144 h 144"/>
                  <a:gd name="T6" fmla="*/ 0 w 318"/>
                  <a:gd name="T7" fmla="*/ 92 h 144"/>
                  <a:gd name="T8" fmla="*/ 0 w 318"/>
                  <a:gd name="T9" fmla="*/ 9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8" h="144">
                    <a:moveTo>
                      <a:pt x="0" y="92"/>
                    </a:moveTo>
                    <a:lnTo>
                      <a:pt x="112" y="0"/>
                    </a:lnTo>
                    <a:lnTo>
                      <a:pt x="318" y="144"/>
                    </a:lnTo>
                    <a:lnTo>
                      <a:pt x="0" y="92"/>
                    </a:lnTo>
                    <a:lnTo>
                      <a:pt x="0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1" name="Freeform 930"/>
              <p:cNvSpPr>
                <a:spLocks/>
              </p:cNvSpPr>
              <p:nvPr userDrawn="1"/>
            </p:nvSpPr>
            <p:spPr bwMode="auto">
              <a:xfrm>
                <a:off x="2327772" y="3384841"/>
                <a:ext cx="972780" cy="2742580"/>
              </a:xfrm>
              <a:custGeom>
                <a:avLst/>
                <a:gdLst>
                  <a:gd name="T0" fmla="*/ 145 w 238"/>
                  <a:gd name="T1" fmla="*/ 671 h 671"/>
                  <a:gd name="T2" fmla="*/ 238 w 238"/>
                  <a:gd name="T3" fmla="*/ 17 h 671"/>
                  <a:gd name="T4" fmla="*/ 133 w 238"/>
                  <a:gd name="T5" fmla="*/ 0 h 671"/>
                  <a:gd name="T6" fmla="*/ 0 w 238"/>
                  <a:gd name="T7" fmla="*/ 479 h 671"/>
                  <a:gd name="T8" fmla="*/ 145 w 238"/>
                  <a:gd name="T9" fmla="*/ 671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8" h="671">
                    <a:moveTo>
                      <a:pt x="145" y="671"/>
                    </a:moveTo>
                    <a:lnTo>
                      <a:pt x="238" y="17"/>
                    </a:lnTo>
                    <a:lnTo>
                      <a:pt x="133" y="0"/>
                    </a:lnTo>
                    <a:lnTo>
                      <a:pt x="0" y="479"/>
                    </a:lnTo>
                    <a:lnTo>
                      <a:pt x="145" y="6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2" name="Freeform 21"/>
              <p:cNvSpPr>
                <a:spLocks/>
              </p:cNvSpPr>
              <p:nvPr userDrawn="1"/>
            </p:nvSpPr>
            <p:spPr bwMode="auto">
              <a:xfrm>
                <a:off x="-1" y="2752795"/>
                <a:ext cx="2765113" cy="4114430"/>
              </a:xfrm>
              <a:custGeom>
                <a:avLst/>
                <a:gdLst>
                  <a:gd name="connsiteX0" fmla="*/ 0 w 2765113"/>
                  <a:gd name="connsiteY0" fmla="*/ 0 h 4114430"/>
                  <a:gd name="connsiteX1" fmla="*/ 2765113 w 2765113"/>
                  <a:gd name="connsiteY1" fmla="*/ 3668914 h 4114430"/>
                  <a:gd name="connsiteX2" fmla="*/ 2184716 w 2765113"/>
                  <a:gd name="connsiteY2" fmla="*/ 4114430 h 4114430"/>
                  <a:gd name="connsiteX3" fmla="*/ 128803 w 2765113"/>
                  <a:gd name="connsiteY3" fmla="*/ 4065383 h 4114430"/>
                  <a:gd name="connsiteX4" fmla="*/ 0 w 2765113"/>
                  <a:gd name="connsiteY4" fmla="*/ 3360884 h 411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5113" h="4114430">
                    <a:moveTo>
                      <a:pt x="0" y="0"/>
                    </a:moveTo>
                    <a:lnTo>
                      <a:pt x="2765113" y="3668914"/>
                    </a:lnTo>
                    <a:lnTo>
                      <a:pt x="2184716" y="4114430"/>
                    </a:lnTo>
                    <a:lnTo>
                      <a:pt x="128803" y="4065383"/>
                    </a:lnTo>
                    <a:lnTo>
                      <a:pt x="0" y="33608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661"/>
              </a:p>
            </p:txBody>
          </p:sp>
          <p:sp>
            <p:nvSpPr>
              <p:cNvPr id="23" name="Freeform 932"/>
              <p:cNvSpPr>
                <a:spLocks/>
              </p:cNvSpPr>
              <p:nvPr userDrawn="1"/>
            </p:nvSpPr>
            <p:spPr bwMode="auto">
              <a:xfrm>
                <a:off x="737806" y="707655"/>
                <a:ext cx="1659448" cy="4365240"/>
              </a:xfrm>
              <a:custGeom>
                <a:avLst/>
                <a:gdLst>
                  <a:gd name="T0" fmla="*/ 406 w 406"/>
                  <a:gd name="T1" fmla="*/ 831 h 1068"/>
                  <a:gd name="T2" fmla="*/ 147 w 406"/>
                  <a:gd name="T3" fmla="*/ 0 h 1068"/>
                  <a:gd name="T4" fmla="*/ 0 w 406"/>
                  <a:gd name="T5" fmla="*/ 617 h 1068"/>
                  <a:gd name="T6" fmla="*/ 340 w 406"/>
                  <a:gd name="T7" fmla="*/ 1068 h 1068"/>
                  <a:gd name="T8" fmla="*/ 406 w 406"/>
                  <a:gd name="T9" fmla="*/ 831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1068">
                    <a:moveTo>
                      <a:pt x="406" y="831"/>
                    </a:moveTo>
                    <a:lnTo>
                      <a:pt x="147" y="0"/>
                    </a:lnTo>
                    <a:lnTo>
                      <a:pt x="0" y="617"/>
                    </a:lnTo>
                    <a:lnTo>
                      <a:pt x="340" y="1068"/>
                    </a:lnTo>
                    <a:lnTo>
                      <a:pt x="406" y="8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 dirty="0"/>
              </a:p>
            </p:txBody>
          </p:sp>
        </p:grp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-3035214" y="3344105"/>
              <a:ext cx="6863907" cy="175702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 userDrawn="1"/>
          </p:nvSpPr>
          <p:spPr>
            <a:xfrm>
              <a:off x="-1" y="0"/>
              <a:ext cx="311151" cy="6858000"/>
            </a:xfrm>
            <a:prstGeom prst="rect">
              <a:avLst/>
            </a:prstGeom>
            <a:gradFill>
              <a:gsLst>
                <a:gs pos="25000">
                  <a:schemeClr val="accent2"/>
                </a:gs>
                <a:gs pos="100000">
                  <a:schemeClr val="tx1"/>
                </a:gs>
              </a:gsLst>
              <a:lin ang="2159400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  <p:sp>
          <p:nvSpPr>
            <p:cNvPr id="19" name="Freeform 18"/>
            <p:cNvSpPr/>
            <p:nvPr userDrawn="1"/>
          </p:nvSpPr>
          <p:spPr>
            <a:xfrm>
              <a:off x="0" y="3168650"/>
              <a:ext cx="311150" cy="3689350"/>
            </a:xfrm>
            <a:custGeom>
              <a:avLst/>
              <a:gdLst>
                <a:gd name="connsiteX0" fmla="*/ 0 w 416718"/>
                <a:gd name="connsiteY0" fmla="*/ 0 h 4056770"/>
                <a:gd name="connsiteX1" fmla="*/ 71939 w 416718"/>
                <a:gd name="connsiteY1" fmla="*/ 72813 h 4056770"/>
                <a:gd name="connsiteX2" fmla="*/ 416718 w 416718"/>
                <a:gd name="connsiteY2" fmla="*/ 532518 h 4056770"/>
                <a:gd name="connsiteX3" fmla="*/ 416718 w 416718"/>
                <a:gd name="connsiteY3" fmla="*/ 4056770 h 4056770"/>
                <a:gd name="connsiteX4" fmla="*/ 0 w 416718"/>
                <a:gd name="connsiteY4" fmla="*/ 4056770 h 4056770"/>
                <a:gd name="connsiteX0" fmla="*/ 0 w 416718"/>
                <a:gd name="connsiteY0" fmla="*/ 0 h 4056770"/>
                <a:gd name="connsiteX1" fmla="*/ 416718 w 416718"/>
                <a:gd name="connsiteY1" fmla="*/ 532518 h 4056770"/>
                <a:gd name="connsiteX2" fmla="*/ 416718 w 416718"/>
                <a:gd name="connsiteY2" fmla="*/ 4056770 h 4056770"/>
                <a:gd name="connsiteX3" fmla="*/ 0 w 416718"/>
                <a:gd name="connsiteY3" fmla="*/ 4056770 h 4056770"/>
                <a:gd name="connsiteX4" fmla="*/ 0 w 416718"/>
                <a:gd name="connsiteY4" fmla="*/ 0 h 4056770"/>
                <a:gd name="connsiteX0" fmla="*/ 0 w 416718"/>
                <a:gd name="connsiteY0" fmla="*/ 0 h 3994887"/>
                <a:gd name="connsiteX1" fmla="*/ 416718 w 416718"/>
                <a:gd name="connsiteY1" fmla="*/ 470635 h 3994887"/>
                <a:gd name="connsiteX2" fmla="*/ 416718 w 416718"/>
                <a:gd name="connsiteY2" fmla="*/ 3994887 h 3994887"/>
                <a:gd name="connsiteX3" fmla="*/ 0 w 416718"/>
                <a:gd name="connsiteY3" fmla="*/ 3994887 h 3994887"/>
                <a:gd name="connsiteX4" fmla="*/ 0 w 416718"/>
                <a:gd name="connsiteY4" fmla="*/ 0 h 399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718" h="3994887">
                  <a:moveTo>
                    <a:pt x="0" y="0"/>
                  </a:moveTo>
                  <a:lnTo>
                    <a:pt x="416718" y="470635"/>
                  </a:lnTo>
                  <a:lnTo>
                    <a:pt x="416718" y="3994887"/>
                  </a:lnTo>
                  <a:lnTo>
                    <a:pt x="0" y="399488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35000">
                  <a:schemeClr val="accent1"/>
                </a:gs>
                <a:gs pos="96000">
                  <a:schemeClr val="accent2"/>
                </a:gs>
              </a:gsLst>
              <a:lin ang="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</p:grpSp>
      <p:sp>
        <p:nvSpPr>
          <p:cNvPr id="24" name="Text Placeholder"/>
          <p:cNvSpPr>
            <a:spLocks noGrp="1"/>
          </p:cNvSpPr>
          <p:nvPr>
            <p:ph idx="1" hasCustomPrompt="1"/>
          </p:nvPr>
        </p:nvSpPr>
        <p:spPr>
          <a:xfrm>
            <a:off x="372157" y="1241427"/>
            <a:ext cx="8267639" cy="3877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>
                <a:solidFill>
                  <a:schemeClr val="bg1">
                    <a:lumMod val="65000"/>
                  </a:schemeClr>
                </a:solidFill>
              </a:defRPr>
            </a:lvl1pPr>
            <a:lvl2pPr marL="212669" indent="-21266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1425452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1" name="Object 4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64B69BF-A909-4CA0-94E4-52ABB90054B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46539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16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72155" y="381000"/>
            <a:ext cx="7202901" cy="685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defRPr sz="2584" b="1" baseline="0">
                <a:ln>
                  <a:noFill/>
                </a:ln>
                <a:solidFill>
                  <a:schemeClr val="accent1"/>
                </a:solidFill>
                <a:effectLst/>
                <a:latin typeface="+mn-lt"/>
                <a:cs typeface="Arial" pitchFamily="34" charset="0"/>
                <a:sym typeface="Arial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324600" y="6553200"/>
            <a:ext cx="2590800" cy="152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23" baseline="0">
                <a:latin typeface="Arial"/>
                <a:cs typeface="Arial" pitchFamily="34" charset="0"/>
                <a:sym typeface="Arial"/>
              </a:defRPr>
            </a:lvl1pPr>
          </a:lstStyle>
          <a:p>
            <a:pPr lvl="0"/>
            <a:r>
              <a:rPr lang="id-ID" dirty="0"/>
              <a:t>Presentation Title Goes Her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31" hasCustomPrompt="1"/>
          </p:nvPr>
        </p:nvSpPr>
        <p:spPr>
          <a:xfrm>
            <a:off x="381002" y="1143000"/>
            <a:ext cx="8390845" cy="25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847" b="0" baseline="0">
                <a:solidFill>
                  <a:schemeClr val="accent3"/>
                </a:solidFill>
                <a:latin typeface="+mn-lt"/>
                <a:cs typeface="Arial" pitchFamily="34" charset="0"/>
                <a:sym typeface="Arial"/>
              </a:defRPr>
            </a:lvl1pPr>
          </a:lstStyle>
          <a:p>
            <a:pPr lvl="0"/>
            <a:r>
              <a:rPr lang="id-ID" dirty="0"/>
              <a:t>Subheadline Her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" y="0"/>
            <a:ext cx="3481756" cy="6863909"/>
            <a:chOff x="-1" y="0"/>
            <a:chExt cx="3771902" cy="6863909"/>
          </a:xfrm>
        </p:grpSpPr>
        <p:grpSp>
          <p:nvGrpSpPr>
            <p:cNvPr id="18" name="Group 17"/>
            <p:cNvGrpSpPr/>
            <p:nvPr userDrawn="1"/>
          </p:nvGrpSpPr>
          <p:grpSpPr>
            <a:xfrm>
              <a:off x="1" y="1363376"/>
              <a:ext cx="3771900" cy="5494623"/>
              <a:chOff x="-1" y="707655"/>
              <a:chExt cx="4228367" cy="6159570"/>
            </a:xfrm>
            <a:gradFill>
              <a:gsLst>
                <a:gs pos="31000">
                  <a:schemeClr val="bg1">
                    <a:lumMod val="95000"/>
                    <a:alpha val="24000"/>
                  </a:schemeClr>
                </a:gs>
                <a:gs pos="96000">
                  <a:schemeClr val="bg1">
                    <a:lumMod val="95000"/>
                    <a:alpha val="36000"/>
                  </a:schemeClr>
                </a:gs>
              </a:gsLst>
              <a:lin ang="0" scaled="0"/>
            </a:gradFill>
          </p:grpSpPr>
          <p:sp>
            <p:nvSpPr>
              <p:cNvPr id="23" name="Freeform 929"/>
              <p:cNvSpPr>
                <a:spLocks/>
              </p:cNvSpPr>
              <p:nvPr userDrawn="1"/>
            </p:nvSpPr>
            <p:spPr bwMode="auto">
              <a:xfrm>
                <a:off x="2928605" y="2775831"/>
                <a:ext cx="1299761" cy="588575"/>
              </a:xfrm>
              <a:custGeom>
                <a:avLst/>
                <a:gdLst>
                  <a:gd name="T0" fmla="*/ 0 w 318"/>
                  <a:gd name="T1" fmla="*/ 92 h 144"/>
                  <a:gd name="T2" fmla="*/ 112 w 318"/>
                  <a:gd name="T3" fmla="*/ 0 h 144"/>
                  <a:gd name="T4" fmla="*/ 318 w 318"/>
                  <a:gd name="T5" fmla="*/ 144 h 144"/>
                  <a:gd name="T6" fmla="*/ 0 w 318"/>
                  <a:gd name="T7" fmla="*/ 92 h 144"/>
                  <a:gd name="T8" fmla="*/ 0 w 318"/>
                  <a:gd name="T9" fmla="*/ 9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8" h="144">
                    <a:moveTo>
                      <a:pt x="0" y="92"/>
                    </a:moveTo>
                    <a:lnTo>
                      <a:pt x="112" y="0"/>
                    </a:lnTo>
                    <a:lnTo>
                      <a:pt x="318" y="144"/>
                    </a:lnTo>
                    <a:lnTo>
                      <a:pt x="0" y="92"/>
                    </a:lnTo>
                    <a:lnTo>
                      <a:pt x="0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4" name="Freeform 930"/>
              <p:cNvSpPr>
                <a:spLocks/>
              </p:cNvSpPr>
              <p:nvPr userDrawn="1"/>
            </p:nvSpPr>
            <p:spPr bwMode="auto">
              <a:xfrm>
                <a:off x="2327772" y="3384841"/>
                <a:ext cx="972780" cy="2742580"/>
              </a:xfrm>
              <a:custGeom>
                <a:avLst/>
                <a:gdLst>
                  <a:gd name="T0" fmla="*/ 145 w 238"/>
                  <a:gd name="T1" fmla="*/ 671 h 671"/>
                  <a:gd name="T2" fmla="*/ 238 w 238"/>
                  <a:gd name="T3" fmla="*/ 17 h 671"/>
                  <a:gd name="T4" fmla="*/ 133 w 238"/>
                  <a:gd name="T5" fmla="*/ 0 h 671"/>
                  <a:gd name="T6" fmla="*/ 0 w 238"/>
                  <a:gd name="T7" fmla="*/ 479 h 671"/>
                  <a:gd name="T8" fmla="*/ 145 w 238"/>
                  <a:gd name="T9" fmla="*/ 671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8" h="671">
                    <a:moveTo>
                      <a:pt x="145" y="671"/>
                    </a:moveTo>
                    <a:lnTo>
                      <a:pt x="238" y="17"/>
                    </a:lnTo>
                    <a:lnTo>
                      <a:pt x="133" y="0"/>
                    </a:lnTo>
                    <a:lnTo>
                      <a:pt x="0" y="479"/>
                    </a:lnTo>
                    <a:lnTo>
                      <a:pt x="145" y="6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5" name="Freeform 24"/>
              <p:cNvSpPr>
                <a:spLocks/>
              </p:cNvSpPr>
              <p:nvPr userDrawn="1"/>
            </p:nvSpPr>
            <p:spPr bwMode="auto">
              <a:xfrm>
                <a:off x="-1" y="2752795"/>
                <a:ext cx="2765113" cy="4114430"/>
              </a:xfrm>
              <a:custGeom>
                <a:avLst/>
                <a:gdLst>
                  <a:gd name="connsiteX0" fmla="*/ 0 w 2765113"/>
                  <a:gd name="connsiteY0" fmla="*/ 0 h 4114430"/>
                  <a:gd name="connsiteX1" fmla="*/ 2765113 w 2765113"/>
                  <a:gd name="connsiteY1" fmla="*/ 3668914 h 4114430"/>
                  <a:gd name="connsiteX2" fmla="*/ 2184716 w 2765113"/>
                  <a:gd name="connsiteY2" fmla="*/ 4114430 h 4114430"/>
                  <a:gd name="connsiteX3" fmla="*/ 128803 w 2765113"/>
                  <a:gd name="connsiteY3" fmla="*/ 4065383 h 4114430"/>
                  <a:gd name="connsiteX4" fmla="*/ 0 w 2765113"/>
                  <a:gd name="connsiteY4" fmla="*/ 3360884 h 411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5113" h="4114430">
                    <a:moveTo>
                      <a:pt x="0" y="0"/>
                    </a:moveTo>
                    <a:lnTo>
                      <a:pt x="2765113" y="3668914"/>
                    </a:lnTo>
                    <a:lnTo>
                      <a:pt x="2184716" y="4114430"/>
                    </a:lnTo>
                    <a:lnTo>
                      <a:pt x="128803" y="4065383"/>
                    </a:lnTo>
                    <a:lnTo>
                      <a:pt x="0" y="33608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661"/>
              </a:p>
            </p:txBody>
          </p:sp>
          <p:sp>
            <p:nvSpPr>
              <p:cNvPr id="26" name="Freeform 932"/>
              <p:cNvSpPr>
                <a:spLocks/>
              </p:cNvSpPr>
              <p:nvPr userDrawn="1"/>
            </p:nvSpPr>
            <p:spPr bwMode="auto">
              <a:xfrm>
                <a:off x="737806" y="707655"/>
                <a:ext cx="1659448" cy="4365240"/>
              </a:xfrm>
              <a:custGeom>
                <a:avLst/>
                <a:gdLst>
                  <a:gd name="T0" fmla="*/ 406 w 406"/>
                  <a:gd name="T1" fmla="*/ 831 h 1068"/>
                  <a:gd name="T2" fmla="*/ 147 w 406"/>
                  <a:gd name="T3" fmla="*/ 0 h 1068"/>
                  <a:gd name="T4" fmla="*/ 0 w 406"/>
                  <a:gd name="T5" fmla="*/ 617 h 1068"/>
                  <a:gd name="T6" fmla="*/ 340 w 406"/>
                  <a:gd name="T7" fmla="*/ 1068 h 1068"/>
                  <a:gd name="T8" fmla="*/ 406 w 406"/>
                  <a:gd name="T9" fmla="*/ 831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1068">
                    <a:moveTo>
                      <a:pt x="406" y="831"/>
                    </a:moveTo>
                    <a:lnTo>
                      <a:pt x="147" y="0"/>
                    </a:lnTo>
                    <a:lnTo>
                      <a:pt x="0" y="617"/>
                    </a:lnTo>
                    <a:lnTo>
                      <a:pt x="340" y="1068"/>
                    </a:lnTo>
                    <a:lnTo>
                      <a:pt x="406" y="8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-3035214" y="3344105"/>
              <a:ext cx="6863907" cy="175702"/>
            </a:xfrm>
            <a:prstGeom prst="rect">
              <a:avLst/>
            </a:prstGeom>
          </p:spPr>
        </p:pic>
        <p:sp>
          <p:nvSpPr>
            <p:cNvPr id="21" name="Rectangle 20"/>
            <p:cNvSpPr/>
            <p:nvPr userDrawn="1"/>
          </p:nvSpPr>
          <p:spPr>
            <a:xfrm>
              <a:off x="-1" y="0"/>
              <a:ext cx="311151" cy="6858000"/>
            </a:xfrm>
            <a:prstGeom prst="rect">
              <a:avLst/>
            </a:prstGeom>
            <a:gradFill>
              <a:gsLst>
                <a:gs pos="25000">
                  <a:schemeClr val="accent2"/>
                </a:gs>
                <a:gs pos="100000">
                  <a:schemeClr val="tx1"/>
                </a:gs>
              </a:gsLst>
              <a:lin ang="2159400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  <p:sp>
          <p:nvSpPr>
            <p:cNvPr id="22" name="Freeform 21"/>
            <p:cNvSpPr/>
            <p:nvPr userDrawn="1"/>
          </p:nvSpPr>
          <p:spPr>
            <a:xfrm>
              <a:off x="0" y="3168650"/>
              <a:ext cx="311150" cy="3689350"/>
            </a:xfrm>
            <a:custGeom>
              <a:avLst/>
              <a:gdLst>
                <a:gd name="connsiteX0" fmla="*/ 0 w 416718"/>
                <a:gd name="connsiteY0" fmla="*/ 0 h 4056770"/>
                <a:gd name="connsiteX1" fmla="*/ 71939 w 416718"/>
                <a:gd name="connsiteY1" fmla="*/ 72813 h 4056770"/>
                <a:gd name="connsiteX2" fmla="*/ 416718 w 416718"/>
                <a:gd name="connsiteY2" fmla="*/ 532518 h 4056770"/>
                <a:gd name="connsiteX3" fmla="*/ 416718 w 416718"/>
                <a:gd name="connsiteY3" fmla="*/ 4056770 h 4056770"/>
                <a:gd name="connsiteX4" fmla="*/ 0 w 416718"/>
                <a:gd name="connsiteY4" fmla="*/ 4056770 h 4056770"/>
                <a:gd name="connsiteX0" fmla="*/ 0 w 416718"/>
                <a:gd name="connsiteY0" fmla="*/ 0 h 4056770"/>
                <a:gd name="connsiteX1" fmla="*/ 416718 w 416718"/>
                <a:gd name="connsiteY1" fmla="*/ 532518 h 4056770"/>
                <a:gd name="connsiteX2" fmla="*/ 416718 w 416718"/>
                <a:gd name="connsiteY2" fmla="*/ 4056770 h 4056770"/>
                <a:gd name="connsiteX3" fmla="*/ 0 w 416718"/>
                <a:gd name="connsiteY3" fmla="*/ 4056770 h 4056770"/>
                <a:gd name="connsiteX4" fmla="*/ 0 w 416718"/>
                <a:gd name="connsiteY4" fmla="*/ 0 h 4056770"/>
                <a:gd name="connsiteX0" fmla="*/ 0 w 416718"/>
                <a:gd name="connsiteY0" fmla="*/ 0 h 3994887"/>
                <a:gd name="connsiteX1" fmla="*/ 416718 w 416718"/>
                <a:gd name="connsiteY1" fmla="*/ 470635 h 3994887"/>
                <a:gd name="connsiteX2" fmla="*/ 416718 w 416718"/>
                <a:gd name="connsiteY2" fmla="*/ 3994887 h 3994887"/>
                <a:gd name="connsiteX3" fmla="*/ 0 w 416718"/>
                <a:gd name="connsiteY3" fmla="*/ 3994887 h 3994887"/>
                <a:gd name="connsiteX4" fmla="*/ 0 w 416718"/>
                <a:gd name="connsiteY4" fmla="*/ 0 h 399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718" h="3994887">
                  <a:moveTo>
                    <a:pt x="0" y="0"/>
                  </a:moveTo>
                  <a:lnTo>
                    <a:pt x="416718" y="470635"/>
                  </a:lnTo>
                  <a:lnTo>
                    <a:pt x="416718" y="3994887"/>
                  </a:lnTo>
                  <a:lnTo>
                    <a:pt x="0" y="399488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35000">
                  <a:schemeClr val="accent1"/>
                </a:gs>
                <a:gs pos="96000">
                  <a:schemeClr val="accent2"/>
                </a:gs>
              </a:gsLst>
              <a:lin ang="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691441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40">
          <p15:clr>
            <a:srgbClr val="FBAE40"/>
          </p15:clr>
        </p15:guide>
        <p15:guide id="3" pos="5184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709">
          <p15:clr>
            <a:srgbClr val="FBAE40"/>
          </p15:clr>
        </p15:guide>
        <p15:guide id="6" orient="horz" pos="890">
          <p15:clr>
            <a:srgbClr val="FBAE40"/>
          </p15:clr>
        </p15:guide>
        <p15:guide id="7" orient="horz" pos="399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65674"/>
            <a:ext cx="8229600" cy="1143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68CA6AC-14B7-4D7C-BE6B-C80F35BD94B7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67607074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A5F735E-1BCC-44F2-8D0F-3011B9FB90F2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9EBDC90-0C75-4889-9054-82CB72C5828C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BD1821C-26A9-4788-A17A-DD17BE5C49CB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03A1CCD-DE18-4316-973A-0674310C4B69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1" name="Object 27"/>
          <p:cNvGraphicFramePr>
            <a:graphicFrameLocks noChangeAspect="1"/>
          </p:cNvGraphicFramePr>
          <p:nvPr/>
        </p:nvGraphicFramePr>
        <p:xfrm>
          <a:off x="0" y="0"/>
          <a:ext cx="9144000" cy="1200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age" r:id="rId14" imgW="9561905" imgH="1600000" progId="">
                  <p:embed/>
                </p:oleObj>
              </mc:Choice>
              <mc:Fallback>
                <p:oleObj name="Image" r:id="rId14" imgW="9561905" imgH="1600000" progId="">
                  <p:embed/>
                  <p:pic>
                    <p:nvPicPr>
                      <p:cNvPr id="1051" name="Object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white">
                      <a:xfrm>
                        <a:off x="0" y="0"/>
                        <a:ext cx="9144000" cy="1200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65AAE9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DDDDDD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0" name="Freeform 16"/>
          <p:cNvSpPr>
            <a:spLocks/>
          </p:cNvSpPr>
          <p:nvPr/>
        </p:nvSpPr>
        <p:spPr bwMode="gray">
          <a:xfrm>
            <a:off x="-11113" y="280988"/>
            <a:ext cx="9155113" cy="1620837"/>
          </a:xfrm>
          <a:custGeom>
            <a:avLst/>
            <a:gdLst/>
            <a:ahLst/>
            <a:cxnLst>
              <a:cxn ang="0">
                <a:pos x="6" y="109"/>
              </a:cxn>
              <a:cxn ang="0">
                <a:pos x="1427" y="46"/>
              </a:cxn>
              <a:cxn ang="0">
                <a:pos x="4032" y="255"/>
              </a:cxn>
              <a:cxn ang="0">
                <a:pos x="5767" y="0"/>
              </a:cxn>
              <a:cxn ang="0">
                <a:pos x="5767" y="776"/>
              </a:cxn>
              <a:cxn ang="0">
                <a:pos x="4065" y="831"/>
              </a:cxn>
              <a:cxn ang="0">
                <a:pos x="1984" y="674"/>
              </a:cxn>
              <a:cxn ang="0">
                <a:pos x="14" y="995"/>
              </a:cxn>
              <a:cxn ang="0">
                <a:pos x="6" y="109"/>
              </a:cxn>
            </a:cxnLst>
            <a:rect l="0" t="0" r="r" b="b"/>
            <a:pathLst>
              <a:path w="5767" h="1021">
                <a:moveTo>
                  <a:pt x="6" y="109"/>
                </a:moveTo>
                <a:cubicBezTo>
                  <a:pt x="144" y="93"/>
                  <a:pt x="626" y="42"/>
                  <a:pt x="1427" y="46"/>
                </a:cubicBezTo>
                <a:cubicBezTo>
                  <a:pt x="2228" y="50"/>
                  <a:pt x="3321" y="224"/>
                  <a:pt x="4032" y="255"/>
                </a:cubicBezTo>
                <a:cubicBezTo>
                  <a:pt x="4742" y="286"/>
                  <a:pt x="5649" y="91"/>
                  <a:pt x="5767" y="0"/>
                </a:cubicBezTo>
                <a:lnTo>
                  <a:pt x="5767" y="776"/>
                </a:lnTo>
                <a:cubicBezTo>
                  <a:pt x="4948" y="879"/>
                  <a:pt x="4543" y="844"/>
                  <a:pt x="4065" y="831"/>
                </a:cubicBezTo>
                <a:cubicBezTo>
                  <a:pt x="3587" y="818"/>
                  <a:pt x="2973" y="694"/>
                  <a:pt x="1984" y="674"/>
                </a:cubicBezTo>
                <a:cubicBezTo>
                  <a:pt x="995" y="654"/>
                  <a:pt x="28" y="969"/>
                  <a:pt x="14" y="995"/>
                </a:cubicBezTo>
                <a:cubicBezTo>
                  <a:pt x="0" y="1021"/>
                  <a:pt x="6" y="255"/>
                  <a:pt x="6" y="109"/>
                </a:cubicBezTo>
                <a:close/>
              </a:path>
            </a:pathLst>
          </a:custGeom>
          <a:solidFill>
            <a:schemeClr val="accent1">
              <a:alpha val="41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041" name="Freeform 17"/>
          <p:cNvSpPr>
            <a:spLocks/>
          </p:cNvSpPr>
          <p:nvPr/>
        </p:nvSpPr>
        <p:spPr bwMode="gray">
          <a:xfrm>
            <a:off x="-20638" y="533400"/>
            <a:ext cx="9161463" cy="1006475"/>
          </a:xfrm>
          <a:custGeom>
            <a:avLst/>
            <a:gdLst/>
            <a:ahLst/>
            <a:cxnLst>
              <a:cxn ang="0">
                <a:pos x="20" y="109"/>
              </a:cxn>
              <a:cxn ang="0">
                <a:pos x="1442" y="3"/>
              </a:cxn>
              <a:cxn ang="0">
                <a:pos x="4150" y="148"/>
              </a:cxn>
              <a:cxn ang="0">
                <a:pos x="5771" y="37"/>
              </a:cxn>
              <a:cxn ang="0">
                <a:pos x="5771" y="557"/>
              </a:cxn>
              <a:cxn ang="0">
                <a:pos x="3942" y="592"/>
              </a:cxn>
              <a:cxn ang="0">
                <a:pos x="1839" y="456"/>
              </a:cxn>
              <a:cxn ang="0">
                <a:pos x="6" y="620"/>
              </a:cxn>
              <a:cxn ang="0">
                <a:pos x="20" y="109"/>
              </a:cxn>
            </a:cxnLst>
            <a:rect l="0" t="0" r="r" b="b"/>
            <a:pathLst>
              <a:path w="5771" h="634">
                <a:moveTo>
                  <a:pt x="20" y="109"/>
                </a:moveTo>
                <a:cubicBezTo>
                  <a:pt x="26" y="109"/>
                  <a:pt x="645" y="0"/>
                  <a:pt x="1442" y="3"/>
                </a:cubicBezTo>
                <a:cubicBezTo>
                  <a:pt x="2239" y="6"/>
                  <a:pt x="3443" y="123"/>
                  <a:pt x="4150" y="148"/>
                </a:cubicBezTo>
                <a:cubicBezTo>
                  <a:pt x="4858" y="173"/>
                  <a:pt x="5633" y="63"/>
                  <a:pt x="5771" y="37"/>
                </a:cubicBezTo>
                <a:lnTo>
                  <a:pt x="5771" y="557"/>
                </a:lnTo>
                <a:cubicBezTo>
                  <a:pt x="4926" y="634"/>
                  <a:pt x="4422" y="612"/>
                  <a:pt x="3942" y="592"/>
                </a:cubicBezTo>
                <a:cubicBezTo>
                  <a:pt x="3463" y="572"/>
                  <a:pt x="2588" y="450"/>
                  <a:pt x="1839" y="456"/>
                </a:cubicBezTo>
                <a:cubicBezTo>
                  <a:pt x="1182" y="455"/>
                  <a:pt x="0" y="618"/>
                  <a:pt x="6" y="620"/>
                </a:cubicBezTo>
                <a:cubicBezTo>
                  <a:pt x="12" y="621"/>
                  <a:pt x="14" y="109"/>
                  <a:pt x="20" y="109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1042" name="Group 18"/>
          <p:cNvGrpSpPr>
            <a:grpSpLocks/>
          </p:cNvGrpSpPr>
          <p:nvPr/>
        </p:nvGrpSpPr>
        <p:grpSpPr bwMode="auto">
          <a:xfrm>
            <a:off x="7740650" y="347663"/>
            <a:ext cx="387350" cy="366712"/>
            <a:chOff x="4752" y="1200"/>
            <a:chExt cx="288" cy="288"/>
          </a:xfrm>
        </p:grpSpPr>
        <p:sp>
          <p:nvSpPr>
            <p:cNvPr id="1043" name="Oval 19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tx2">
                    <a:gamma/>
                    <a:tint val="25490"/>
                    <a:invGamma/>
                  </a:schemeClr>
                </a:gs>
                <a:gs pos="100000">
                  <a:schemeClr val="tx2">
                    <a:alpha val="3100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4" name="Oval 20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192" cy="192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45" name="Group 21"/>
          <p:cNvGrpSpPr>
            <a:grpSpLocks/>
          </p:cNvGrpSpPr>
          <p:nvPr/>
        </p:nvGrpSpPr>
        <p:grpSpPr bwMode="auto">
          <a:xfrm>
            <a:off x="8153400" y="53975"/>
            <a:ext cx="609600" cy="592138"/>
            <a:chOff x="4992" y="816"/>
            <a:chExt cx="576" cy="576"/>
          </a:xfrm>
        </p:grpSpPr>
        <p:sp>
          <p:nvSpPr>
            <p:cNvPr id="1046" name="Oval 22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accent1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7" name="Oval 23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48" name="Group 24"/>
          <p:cNvGrpSpPr>
            <a:grpSpLocks/>
          </p:cNvGrpSpPr>
          <p:nvPr/>
        </p:nvGrpSpPr>
        <p:grpSpPr bwMode="auto">
          <a:xfrm>
            <a:off x="171450" y="819150"/>
            <a:ext cx="720725" cy="762000"/>
            <a:chOff x="4992" y="816"/>
            <a:chExt cx="576" cy="576"/>
          </a:xfrm>
        </p:grpSpPr>
        <p:sp>
          <p:nvSpPr>
            <p:cNvPr id="1049" name="Oval 25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tx2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50" name="Oval 26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828800"/>
            <a:ext cx="82296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400800"/>
            <a:ext cx="2133600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fld id="{41F39E41-B9B5-4BC9-9792-9EE9E525E3D1}" type="slidenum">
              <a:rPr lang="ko-KR" altLang="en-US"/>
              <a:pPr/>
              <a:t>‹#›</a:t>
            </a:fld>
            <a:endParaRPr lang="en-US" altLang="ko-KR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928662" y="714356"/>
            <a:ext cx="7391400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ko-KR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/>
  <p:hf sldNum="0" hdr="0" ftr="0" dt="0"/>
  <p:txStyles>
    <p:titleStyle>
      <a:lvl1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v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2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817505-E79A-4CE3-955B-46529E59C72C}" type="datetimeFigureOut">
              <a:rPr lang="en-US" smtClean="0"/>
              <a:pPr/>
              <a:t>9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727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</p:sldLayoutIdLst>
  <p:transition spd="slow">
    <p:fade/>
  </p:transition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1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D473F9-0444-C547-8BBB-C2C129AEF00E}" type="datetimeFigureOut">
              <a:rPr lang="en-US" smtClean="0"/>
              <a:t>9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6571846"/>
            <a:ext cx="9144000" cy="314793"/>
          </a:xfrm>
          <a:prstGeom prst="rect">
            <a:avLst/>
          </a:prstGeom>
          <a:solidFill>
            <a:srgbClr val="3349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400" dirty="0"/>
          </a:p>
        </p:txBody>
      </p:sp>
    </p:spTree>
    <p:extLst>
      <p:ext uri="{BB962C8B-B14F-4D97-AF65-F5344CB8AC3E}">
        <p14:creationId xmlns:p14="http://schemas.microsoft.com/office/powerpoint/2010/main" val="981946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</p:sldLayoutIdLst>
  <p:hf sldNum="0"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1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8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9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1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jpe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gif"/><Relationship Id="rId5" Type="http://schemas.openxmlformats.org/officeDocument/2006/relationships/image" Target="../media/image13.gif"/><Relationship Id="rId10" Type="http://schemas.openxmlformats.org/officeDocument/2006/relationships/image" Target="../media/image18.png"/><Relationship Id="rId4" Type="http://schemas.openxmlformats.org/officeDocument/2006/relationships/image" Target="../media/image12.gif"/><Relationship Id="rId9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43.gif"/><Relationship Id="rId1" Type="http://schemas.openxmlformats.org/officeDocument/2006/relationships/slideLayout" Target="../slideLayouts/slideLayout7.xml"/><Relationship Id="rId10" Type="http://schemas.openxmlformats.org/officeDocument/2006/relationships/image" Target="../media/image15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jpe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gif"/><Relationship Id="rId5" Type="http://schemas.openxmlformats.org/officeDocument/2006/relationships/image" Target="../media/image13.gif"/><Relationship Id="rId10" Type="http://schemas.openxmlformats.org/officeDocument/2006/relationships/image" Target="../media/image18.png"/><Relationship Id="rId4" Type="http://schemas.openxmlformats.org/officeDocument/2006/relationships/image" Target="../media/image12.gif"/><Relationship Id="rId9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9.jpe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Rectangle 2"/>
          <p:cNvSpPr>
            <a:spLocks noChangeArrowheads="1"/>
          </p:cNvSpPr>
          <p:nvPr/>
        </p:nvSpPr>
        <p:spPr bwMode="auto">
          <a:xfrm>
            <a:off x="-16496" y="2204864"/>
            <a:ext cx="9160496" cy="1928826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  <a:effectLst/>
        </p:spPr>
        <p:txBody>
          <a:bodyPr wrap="none" anchor="ctr"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r>
              <a:rPr lang="en-US" sz="60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eek - 01</a:t>
            </a:r>
          </a:p>
          <a:p>
            <a:r>
              <a:rPr lang="en-US" sz="5400">
                <a:ln/>
              </a:rPr>
              <a:t>Introduction to Data Mining</a:t>
            </a:r>
            <a:endParaRPr lang="en-US" sz="5400" dirty="0">
              <a:ln/>
              <a:latin typeface="Arial Narrow" pitchFamily="34" charset="0"/>
              <a:cs typeface="Times New Roman" pitchFamily="18" charset="0"/>
            </a:endParaRPr>
          </a:p>
        </p:txBody>
      </p:sp>
      <p:sp>
        <p:nvSpPr>
          <p:cNvPr id="155652" name="Rectangle 4"/>
          <p:cNvSpPr>
            <a:spLocks noChangeArrowheads="1"/>
          </p:cNvSpPr>
          <p:nvPr/>
        </p:nvSpPr>
        <p:spPr bwMode="auto">
          <a:xfrm>
            <a:off x="0" y="6379008"/>
            <a:ext cx="9144000" cy="478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r>
              <a:rPr lang="en-US" sz="2400" dirty="0">
                <a:solidFill>
                  <a:srgbClr val="060BC6"/>
                </a:solidFill>
              </a:rPr>
              <a:t>Taufik Sutanto 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4437112"/>
            <a:ext cx="8954207" cy="1426886"/>
            <a:chOff x="0" y="4743472"/>
            <a:chExt cx="8954207" cy="1426886"/>
          </a:xfrm>
        </p:grpSpPr>
        <p:pic>
          <p:nvPicPr>
            <p:cNvPr id="11" name="Picture 10"/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48534" y="4955061"/>
              <a:ext cx="1436118" cy="951428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743472"/>
              <a:ext cx="1466274" cy="1331616"/>
            </a:xfrm>
            <a:prstGeom prst="rect">
              <a:avLst/>
            </a:prstGeom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77"/>
            <a:stretch/>
          </p:blipFill>
          <p:spPr>
            <a:xfrm>
              <a:off x="4798424" y="4955060"/>
              <a:ext cx="2209800" cy="1138235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66274" y="4860014"/>
              <a:ext cx="1785747" cy="1141522"/>
            </a:xfrm>
            <a:prstGeom prst="rect">
              <a:avLst/>
            </a:prstGeom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1528" y="4955061"/>
              <a:ext cx="1792679" cy="121529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F0616A53-D93D-4477-8D9B-F51051A861F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35238"/>
            <a:ext cx="746055" cy="74850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22BDC5E-C461-4D88-81E5-EA44CF23378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2665" y="35238"/>
            <a:ext cx="531335" cy="531335"/>
          </a:xfrm>
          <a:prstGeom prst="rect">
            <a:avLst/>
          </a:prstGeom>
        </p:spPr>
      </p:pic>
      <p:pic>
        <p:nvPicPr>
          <p:cNvPr id="8" name="Picture 7" descr="A logo of a light bulb&#10;&#10;Description automatically generated">
            <a:extLst>
              <a:ext uri="{FF2B5EF4-FFF2-40B4-BE49-F238E27FC236}">
                <a16:creationId xmlns:a16="http://schemas.microsoft.com/office/drawing/2014/main" id="{8B3930B8-0C0A-FC7D-B927-1B61DC6FBB9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177" y="35238"/>
            <a:ext cx="531335" cy="531335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733384" y="428604"/>
            <a:ext cx="5790888" cy="1107996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6600" cap="all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chemeClr val="accent4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DATA MINING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772816"/>
            <a:ext cx="8610600" cy="498157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156176" y="5373216"/>
            <a:ext cx="29878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60BC6"/>
                </a:solidFill>
              </a:rPr>
              <a:t>“Complex”, </a:t>
            </a:r>
          </a:p>
          <a:p>
            <a:r>
              <a:rPr lang="en-US" sz="2400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60BC6"/>
                </a:solidFill>
              </a:rPr>
              <a:t>but theoretically simple, </a:t>
            </a:r>
            <a:r>
              <a:rPr lang="en-US" sz="2400" dirty="0" err="1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60BC6"/>
                </a:solidFill>
              </a:rPr>
              <a:t>Mengapa</a:t>
            </a:r>
            <a:r>
              <a:rPr lang="en-US" sz="2400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60BC6"/>
                </a:solidFill>
              </a:rPr>
              <a:t>?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EB83584C-09D8-4A9D-B12D-A834A7A1456D}"/>
                  </a:ext>
                </a:extLst>
              </p14:cNvPr>
              <p14:cNvContentPartPr/>
              <p14:nvPr/>
            </p14:nvContentPartPr>
            <p14:xfrm>
              <a:off x="8629164" y="2793364"/>
              <a:ext cx="9720" cy="30240"/>
            </p14:xfrm>
          </p:contentPart>
        </mc:Choice>
        <mc:Fallback xmlns=""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EB83584C-09D8-4A9D-B12D-A834A7A1456D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8620164" y="2784724"/>
                <a:ext cx="27360" cy="47880"/>
              </a:xfrm>
              <a:prstGeom prst="rect">
                <a:avLst/>
              </a:prstGeom>
            </p:spPr>
          </p:pic>
        </mc:Fallback>
      </mc:AlternateContent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733384" y="561454"/>
            <a:ext cx="5790888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5400" cap="all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chemeClr val="accent4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DATA MINING</a:t>
            </a:r>
          </a:p>
        </p:txBody>
      </p:sp>
      <p:pic>
        <p:nvPicPr>
          <p:cNvPr id="2" name="What is Data Mining">
            <a:hlinkClick r:id="" action="ppaction://media"/>
            <a:extLst>
              <a:ext uri="{FF2B5EF4-FFF2-40B4-BE49-F238E27FC236}">
                <a16:creationId xmlns:a16="http://schemas.microsoft.com/office/drawing/2014/main" id="{79129CF1-FD0C-4CCD-BCAF-E50F1048712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1685156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78873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199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971600" y="620688"/>
            <a:ext cx="8172400" cy="830997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4800" cap="all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chemeClr val="accent4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DATA MINING - Example</a:t>
            </a:r>
          </a:p>
        </p:txBody>
      </p:sp>
      <p:pic>
        <p:nvPicPr>
          <p:cNvPr id="2" name="Data Mining Example - The CheckOut">
            <a:hlinkClick r:id="" action="ppaction://media"/>
            <a:extLst>
              <a:ext uri="{FF2B5EF4-FFF2-40B4-BE49-F238E27FC236}">
                <a16:creationId xmlns:a16="http://schemas.microsoft.com/office/drawing/2014/main" id="{872CA1AD-0323-4570-BB3B-3D42D89B425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39888" y="1772816"/>
            <a:ext cx="9223775" cy="518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91894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254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CA70C314-142E-42FB-B0A7-2FB2AFB7CB3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76" t="13797" r="5636" b="8107"/>
          <a:stretch/>
        </p:blipFill>
        <p:spPr>
          <a:xfrm>
            <a:off x="5220072" y="836712"/>
            <a:ext cx="3823460" cy="237626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0D7DBC7-D60B-4ECD-900F-4F4CF878D5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29184" y="3933056"/>
            <a:ext cx="3214814" cy="287044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E716CA8-DF31-4B25-9884-EE2EA843B814}"/>
              </a:ext>
            </a:extLst>
          </p:cNvPr>
          <p:cNvSpPr txBox="1"/>
          <p:nvPr/>
        </p:nvSpPr>
        <p:spPr>
          <a:xfrm>
            <a:off x="198342" y="-158626"/>
            <a:ext cx="8820472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Mining VS The Res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6984D90-8354-431A-9640-95735455CE4B}"/>
              </a:ext>
            </a:extLst>
          </p:cNvPr>
          <p:cNvSpPr txBox="1"/>
          <p:nvPr/>
        </p:nvSpPr>
        <p:spPr>
          <a:xfrm>
            <a:off x="-108520" y="911617"/>
            <a:ext cx="6300192" cy="6370975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Statistics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[1 h, 1 d]</a:t>
            </a:r>
            <a:endParaRPr kumimoji="0" lang="en-US" sz="36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Data Mining 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n h, 1-n d]</a:t>
            </a:r>
            <a:endParaRPr kumimoji="0" lang="en-US" sz="36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Artificial Intelligence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b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mimicking human intelligence]</a:t>
            </a: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Machine Learning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[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  <a:sym typeface="Symbol" panose="05050102010706020507" pitchFamily="18" charset="2"/>
              </a:rPr>
              <a:t> A.I., 1 task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]</a:t>
            </a:r>
            <a:endParaRPr kumimoji="0" lang="en-US" sz="36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Business Intelligence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[dashboard, aggregate, query, slice-dice]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Business Analytics 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adv. models]</a:t>
            </a:r>
            <a:endParaRPr kumimoji="0" lang="en-US" sz="36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srgbClr val="060BC6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6 Sigma/TQM 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QC]</a:t>
            </a:r>
          </a:p>
          <a:p>
            <a:pPr marL="231775" lvl="0" indent="-231775" algn="l">
              <a:buFont typeface="Arial" panose="020B0604020202020204" pitchFamily="34" charset="0"/>
              <a:buChar char="•"/>
              <a:defRPr/>
            </a:pPr>
            <a:r>
              <a:rPr lang="en-US" b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</a:rPr>
              <a:t>Quant</a:t>
            </a:r>
            <a:endParaRPr kumimoji="0" lang="en-US" sz="24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231775" lvl="0" indent="-231775" algn="l">
              <a:buFont typeface="Arial" panose="020B0604020202020204" pitchFamily="34" charset="0"/>
              <a:buChar char="•"/>
              <a:defRPr/>
            </a:pPr>
            <a:r>
              <a:rPr lang="en-US" b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</a:rPr>
              <a:t>Data Science? </a:t>
            </a:r>
            <a:endParaRPr lang="en-US" sz="2400" b="0" dirty="0">
              <a:ln w="6600">
                <a:solidFill>
                  <a:prstClr val="black"/>
                </a:solidFill>
                <a:prstDash val="solid"/>
              </a:ln>
              <a:solidFill>
                <a:prstClr val="black"/>
              </a:solidFill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8304142"/>
      </p:ext>
    </p:extLst>
  </p:cSld>
  <p:clrMapOvr>
    <a:masterClrMapping/>
  </p:clrMapOvr>
  <p:transition spd="slow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14348" y="571480"/>
            <a:ext cx="8215338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4400" cap="all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chemeClr val="accent4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Data mining Applications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0" y="1597316"/>
            <a:ext cx="4572000" cy="2960006"/>
            <a:chOff x="0" y="1597316"/>
            <a:chExt cx="4572000" cy="2960006"/>
          </a:xfrm>
        </p:grpSpPr>
        <p:sp>
          <p:nvSpPr>
            <p:cNvPr id="3" name="Rectangle 2"/>
            <p:cNvSpPr/>
            <p:nvPr/>
          </p:nvSpPr>
          <p:spPr>
            <a:xfrm>
              <a:off x="0" y="3849436"/>
              <a:ext cx="4572000" cy="70788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r>
                <a:rPr lang="en-AU" sz="1600" dirty="0">
                  <a:solidFill>
                    <a:schemeClr val="tx1"/>
                  </a:solidFill>
                </a:rPr>
                <a:t>Mustafa T, </a:t>
              </a:r>
              <a:r>
                <a:rPr lang="en-AU" sz="1600" dirty="0" err="1">
                  <a:solidFill>
                    <a:schemeClr val="tx1"/>
                  </a:solidFill>
                </a:rPr>
                <a:t>Sattar</a:t>
              </a:r>
              <a:r>
                <a:rPr lang="en-AU" sz="1600" dirty="0">
                  <a:solidFill>
                    <a:schemeClr val="tx1"/>
                  </a:solidFill>
                </a:rPr>
                <a:t> A &amp; Khan M 2012</a:t>
              </a:r>
              <a:r>
                <a:rPr lang="en-AU" sz="1200" dirty="0">
                  <a:solidFill>
                    <a:schemeClr val="tx1"/>
                  </a:solidFill>
                </a:rPr>
                <a:t>, 'Data Mining Model for Higher Education System', </a:t>
              </a:r>
              <a:r>
                <a:rPr lang="en-AU" sz="1200" i="1" dirty="0">
                  <a:solidFill>
                    <a:schemeClr val="tx1"/>
                  </a:solidFill>
                </a:rPr>
                <a:t>European Journal of Scientific Research</a:t>
              </a:r>
              <a:r>
                <a:rPr lang="en-AU" sz="1200" dirty="0">
                  <a:solidFill>
                    <a:schemeClr val="tx1"/>
                  </a:solidFill>
                </a:rPr>
                <a:t>, </a:t>
              </a:r>
              <a:r>
                <a:rPr lang="en-AU" sz="1200" dirty="0" err="1">
                  <a:solidFill>
                    <a:schemeClr val="tx1"/>
                  </a:solidFill>
                </a:rPr>
                <a:t>vol</a:t>
              </a:r>
              <a:r>
                <a:rPr lang="en-AU" sz="1200" dirty="0">
                  <a:solidFill>
                    <a:schemeClr val="tx1"/>
                  </a:solidFill>
                </a:rPr>
                <a:t> 43, no. 1, pp. 24-29.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  <p:pic>
          <p:nvPicPr>
            <p:cNvPr id="12290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7584" y="1597316"/>
              <a:ext cx="2993556" cy="2242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" name="Group 7"/>
          <p:cNvGrpSpPr/>
          <p:nvPr/>
        </p:nvGrpSpPr>
        <p:grpSpPr>
          <a:xfrm>
            <a:off x="4917088" y="1707416"/>
            <a:ext cx="3997646" cy="2945720"/>
            <a:chOff x="4917088" y="1857823"/>
            <a:chExt cx="3997646" cy="2945720"/>
          </a:xfrm>
        </p:grpSpPr>
        <p:sp>
          <p:nvSpPr>
            <p:cNvPr id="5" name="Rectangle 4"/>
            <p:cNvSpPr/>
            <p:nvPr/>
          </p:nvSpPr>
          <p:spPr>
            <a:xfrm>
              <a:off x="4917088" y="3603214"/>
              <a:ext cx="3997646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AU" sz="1800" b="0" dirty="0">
                  <a:solidFill>
                    <a:schemeClr val="tx1"/>
                  </a:solidFill>
                </a:rPr>
                <a:t>Rifkin, R</a:t>
              </a:r>
              <a:r>
                <a:rPr lang="en-AU" sz="1200" b="0" dirty="0">
                  <a:solidFill>
                    <a:schemeClr val="tx1"/>
                  </a:solidFill>
                </a:rPr>
                <a:t>, Mukherjee, S, Tamayo, P, </a:t>
              </a:r>
              <a:r>
                <a:rPr lang="en-AU" sz="1200" b="0" dirty="0" err="1">
                  <a:solidFill>
                    <a:schemeClr val="tx1"/>
                  </a:solidFill>
                </a:rPr>
                <a:t>Ramaswamy</a:t>
              </a:r>
              <a:r>
                <a:rPr lang="en-AU" sz="1200" b="0" dirty="0">
                  <a:solidFill>
                    <a:schemeClr val="tx1"/>
                  </a:solidFill>
                </a:rPr>
                <a:t>, S, </a:t>
              </a:r>
              <a:r>
                <a:rPr lang="en-AU" sz="1200" b="0" dirty="0" err="1">
                  <a:solidFill>
                    <a:schemeClr val="tx1"/>
                  </a:solidFill>
                </a:rPr>
                <a:t>Yeang</a:t>
              </a:r>
              <a:r>
                <a:rPr lang="en-AU" sz="1200" b="0" dirty="0">
                  <a:solidFill>
                    <a:schemeClr val="tx1"/>
                  </a:solidFill>
                </a:rPr>
                <a:t>, C-H, Angelo, M, Reich, M, </a:t>
              </a:r>
              <a:r>
                <a:rPr lang="en-AU" sz="1200" b="0" dirty="0" err="1">
                  <a:solidFill>
                    <a:schemeClr val="tx1"/>
                  </a:solidFill>
                </a:rPr>
                <a:t>Poggio</a:t>
              </a:r>
              <a:r>
                <a:rPr lang="en-AU" sz="1200" b="0" dirty="0">
                  <a:solidFill>
                    <a:schemeClr val="tx1"/>
                  </a:solidFill>
                </a:rPr>
                <a:t>, T, Lander, E, </a:t>
              </a:r>
              <a:r>
                <a:rPr lang="en-AU" sz="1200" b="0" dirty="0" err="1">
                  <a:solidFill>
                    <a:schemeClr val="tx1"/>
                  </a:solidFill>
                </a:rPr>
                <a:t>Golub</a:t>
              </a:r>
              <a:r>
                <a:rPr lang="en-AU" sz="1200" b="0" dirty="0">
                  <a:solidFill>
                    <a:schemeClr val="tx1"/>
                  </a:solidFill>
                </a:rPr>
                <a:t>, T &amp; </a:t>
              </a:r>
              <a:r>
                <a:rPr lang="en-AU" sz="1200" b="0" dirty="0" err="1">
                  <a:solidFill>
                    <a:schemeClr val="tx1"/>
                  </a:solidFill>
                </a:rPr>
                <a:t>Mesirov</a:t>
              </a:r>
              <a:r>
                <a:rPr lang="en-AU" sz="1200" b="0" dirty="0">
                  <a:solidFill>
                    <a:schemeClr val="tx1"/>
                  </a:solidFill>
                </a:rPr>
                <a:t>, J </a:t>
              </a:r>
              <a:r>
                <a:rPr lang="en-AU" sz="1800" b="0" dirty="0">
                  <a:solidFill>
                    <a:schemeClr val="tx1"/>
                  </a:solidFill>
                </a:rPr>
                <a:t>2003</a:t>
              </a:r>
              <a:r>
                <a:rPr lang="en-AU" sz="1200" b="0" dirty="0">
                  <a:solidFill>
                    <a:schemeClr val="tx1"/>
                  </a:solidFill>
                </a:rPr>
                <a:t>, 'An analytical method for multiclass molecular cancer classification', </a:t>
              </a:r>
              <a:r>
                <a:rPr lang="en-AU" sz="1200" b="0" i="1" dirty="0">
                  <a:solidFill>
                    <a:schemeClr val="tx1"/>
                  </a:solidFill>
                </a:rPr>
                <a:t>SIAM Review</a:t>
              </a:r>
              <a:r>
                <a:rPr lang="en-AU" sz="1200" b="0" dirty="0">
                  <a:solidFill>
                    <a:schemeClr val="tx1"/>
                  </a:solidFill>
                </a:rPr>
                <a:t>, </a:t>
              </a:r>
              <a:r>
                <a:rPr lang="en-AU" sz="1200" b="0" dirty="0" err="1">
                  <a:solidFill>
                    <a:schemeClr val="tx1"/>
                  </a:solidFill>
                </a:rPr>
                <a:t>vol</a:t>
              </a:r>
              <a:r>
                <a:rPr lang="en-AU" sz="1200" b="0" dirty="0">
                  <a:solidFill>
                    <a:schemeClr val="tx1"/>
                  </a:solidFill>
                </a:rPr>
                <a:t> 45, pp. 706-723.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4993864" y="1857823"/>
              <a:ext cx="3917366" cy="1721261"/>
              <a:chOff x="4993864" y="1857823"/>
              <a:chExt cx="3917366" cy="1721261"/>
            </a:xfrm>
          </p:grpSpPr>
          <p:pic>
            <p:nvPicPr>
              <p:cNvPr id="12291" name="Picture 3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22893" y="1857823"/>
                <a:ext cx="2188337" cy="172126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2292" name="Picture 4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93864" y="1857823"/>
                <a:ext cx="1721261" cy="172126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11" name="Group 10"/>
          <p:cNvGrpSpPr/>
          <p:nvPr/>
        </p:nvGrpSpPr>
        <p:grpSpPr>
          <a:xfrm>
            <a:off x="323528" y="4640685"/>
            <a:ext cx="8820472" cy="2066925"/>
            <a:chOff x="323528" y="4640685"/>
            <a:chExt cx="8820472" cy="2066925"/>
          </a:xfrm>
        </p:grpSpPr>
        <p:pic>
          <p:nvPicPr>
            <p:cNvPr id="12293" name="Picture 5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4640685"/>
              <a:ext cx="2209800" cy="20669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Rectangle 9"/>
            <p:cNvSpPr/>
            <p:nvPr/>
          </p:nvSpPr>
          <p:spPr>
            <a:xfrm>
              <a:off x="2504086" y="5073982"/>
              <a:ext cx="6639914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000" b="0" dirty="0" err="1">
                  <a:solidFill>
                    <a:schemeClr val="tx1"/>
                  </a:solidFill>
                </a:rPr>
                <a:t>Olaiya</a:t>
              </a:r>
              <a:r>
                <a:rPr lang="en-US" sz="2000" b="0" dirty="0">
                  <a:solidFill>
                    <a:schemeClr val="tx1"/>
                  </a:solidFill>
                </a:rPr>
                <a:t> F &amp; </a:t>
              </a:r>
              <a:r>
                <a:rPr lang="en-US" sz="2000" b="0" dirty="0" err="1">
                  <a:solidFill>
                    <a:schemeClr val="tx1"/>
                  </a:solidFill>
                </a:rPr>
                <a:t>Adeyemo</a:t>
              </a:r>
              <a:r>
                <a:rPr lang="en-US" sz="2000" b="0" dirty="0">
                  <a:solidFill>
                    <a:schemeClr val="tx1"/>
                  </a:solidFill>
                </a:rPr>
                <a:t> AB 2012</a:t>
              </a:r>
              <a:r>
                <a:rPr lang="en-US" b="0" dirty="0">
                  <a:solidFill>
                    <a:schemeClr val="tx1"/>
                  </a:solidFill>
                </a:rPr>
                <a:t>, </a:t>
              </a:r>
              <a:r>
                <a:rPr lang="en-US" sz="1200" b="0" dirty="0">
                  <a:solidFill>
                    <a:schemeClr val="tx1"/>
                  </a:solidFill>
                </a:rPr>
                <a:t>'Application of Data Mining Techniques in Weather Prediction and Climate Change Studies', I.J. Information Engineering and Electronic Business, 1, p. 51-59</a:t>
              </a:r>
              <a:endParaRPr lang="en-US" sz="4000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-243408"/>
            <a:ext cx="8229600" cy="1143000"/>
          </a:xfrm>
        </p:spPr>
        <p:txBody>
          <a:bodyPr>
            <a:normAutofit/>
          </a:bodyPr>
          <a:lstStyle/>
          <a:p>
            <a:pPr eaLnBrk="1" hangingPunct="1"/>
            <a:r>
              <a:rPr lang="en-AU" dirty="0">
                <a:solidFill>
                  <a:schemeClr val="tx1"/>
                </a:solidFill>
              </a:rPr>
              <a:t>Data </a:t>
            </a:r>
            <a:r>
              <a:rPr lang="en-AU" dirty="0">
                <a:solidFill>
                  <a:schemeClr val="tx1"/>
                </a:solidFill>
                <a:sym typeface="Wingdings" panose="05000000000000000000" pitchFamily="2" charset="2"/>
              </a:rPr>
              <a:t> </a:t>
            </a:r>
            <a:r>
              <a:rPr lang="en-AU">
                <a:solidFill>
                  <a:schemeClr val="tx1"/>
                </a:solidFill>
                <a:sym typeface="Wingdings" panose="05000000000000000000" pitchFamily="2" charset="2"/>
              </a:rPr>
              <a:t>Information  DIKW Pyramid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98DC3CC2-13A1-465A-837B-701257B59437}"/>
              </a:ext>
            </a:extLst>
          </p:cNvPr>
          <p:cNvPicPr>
            <a:picLocks noGrp="1" noChangeAspect="1"/>
          </p:cNvPicPr>
          <p:nvPr>
            <p:ph sz="half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328092"/>
            <a:ext cx="6908800" cy="4076700"/>
          </a:xfr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BF04182-02D9-4B3A-9FC3-3A44DFCA5797}"/>
              </a:ext>
            </a:extLst>
          </p:cNvPr>
          <p:cNvSpPr/>
          <p:nvPr/>
        </p:nvSpPr>
        <p:spPr>
          <a:xfrm>
            <a:off x="21916" y="3973905"/>
            <a:ext cx="4572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ttps://www.climate-eval.org/blog/answer-42-data-information-and-knowledg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43B2447-F07A-417B-B459-39B937602D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2040" y="3910855"/>
            <a:ext cx="4211960" cy="2776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80369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3752" y="35200"/>
            <a:ext cx="9036496" cy="873519"/>
          </a:xfrm>
        </p:spPr>
        <p:txBody>
          <a:bodyPr>
            <a:normAutofit/>
          </a:bodyPr>
          <a:lstStyle/>
          <a:p>
            <a:pPr algn="ctr" eaLnBrk="1" hangingPunct="1"/>
            <a:r>
              <a:rPr lang="en-AU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?</a:t>
            </a:r>
            <a:endParaRPr lang="en-US" sz="3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20B0704-D00B-4736-979E-7CA37EBCF363}"/>
              </a:ext>
            </a:extLst>
          </p:cNvPr>
          <p:cNvSpPr/>
          <p:nvPr/>
        </p:nvSpPr>
        <p:spPr>
          <a:xfrm>
            <a:off x="-1016" y="908720"/>
            <a:ext cx="9145016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2000" b="0" dirty="0">
                <a:solidFill>
                  <a:srgbClr val="000000"/>
                </a:solidFill>
                <a:latin typeface="Nunito Sans"/>
              </a:rPr>
              <a:t>Information helps us to observe what is happening, while insights </a:t>
            </a:r>
            <a:r>
              <a:rPr lang="en-US" sz="2000" b="0" u="sng" dirty="0">
                <a:solidFill>
                  <a:srgbClr val="000000"/>
                </a:solidFill>
                <a:latin typeface="Nunito Sans"/>
              </a:rPr>
              <a:t>explain why</a:t>
            </a:r>
            <a:r>
              <a:rPr lang="en-US" sz="2000" b="0" dirty="0">
                <a:solidFill>
                  <a:srgbClr val="000000"/>
                </a:solidFill>
                <a:latin typeface="Nunito Sans"/>
              </a:rPr>
              <a:t>. These business </a:t>
            </a:r>
            <a:r>
              <a:rPr lang="en-US" sz="2000" dirty="0">
                <a:solidFill>
                  <a:srgbClr val="000000"/>
                </a:solidFill>
                <a:latin typeface="Nunito Sans"/>
              </a:rPr>
              <a:t>insights</a:t>
            </a:r>
            <a:r>
              <a:rPr lang="en-US" sz="2000" b="0" dirty="0">
                <a:solidFill>
                  <a:srgbClr val="000000"/>
                </a:solidFill>
                <a:latin typeface="Nunito Sans"/>
              </a:rPr>
              <a:t> help to arrive at </a:t>
            </a:r>
            <a:r>
              <a:rPr lang="en-US" sz="2000" b="0" u="sng" dirty="0">
                <a:solidFill>
                  <a:srgbClr val="000000"/>
                </a:solidFill>
                <a:latin typeface="Nunito Sans"/>
              </a:rPr>
              <a:t>decisions</a:t>
            </a:r>
            <a:r>
              <a:rPr lang="en-US" sz="2000" b="0" dirty="0">
                <a:solidFill>
                  <a:srgbClr val="000000"/>
                </a:solidFill>
                <a:latin typeface="Nunito Sans"/>
              </a:rPr>
              <a:t> and define </a:t>
            </a:r>
            <a:r>
              <a:rPr lang="en-US" sz="2000" b="0" u="sng" dirty="0">
                <a:solidFill>
                  <a:srgbClr val="000000"/>
                </a:solidFill>
                <a:latin typeface="Nunito Sans"/>
              </a:rPr>
              <a:t>strategy</a:t>
            </a:r>
            <a:r>
              <a:rPr lang="en-US" sz="2000" b="0" dirty="0">
                <a:solidFill>
                  <a:srgbClr val="000000"/>
                </a:solidFill>
                <a:latin typeface="Nunito Sans"/>
              </a:rPr>
              <a:t>. </a:t>
            </a:r>
            <a:br>
              <a:rPr lang="en-US" sz="2000" b="0" dirty="0">
                <a:solidFill>
                  <a:srgbClr val="000000"/>
                </a:solidFill>
                <a:latin typeface="Nunito Sans"/>
              </a:rPr>
            </a:br>
            <a:endParaRPr lang="en-US" sz="2000" b="0" dirty="0">
              <a:solidFill>
                <a:srgbClr val="000000"/>
              </a:solidFill>
              <a:latin typeface="Nunito Sans"/>
            </a:endParaRPr>
          </a:p>
          <a:p>
            <a:pPr algn="l"/>
            <a:r>
              <a:rPr lang="en-US" sz="2000" dirty="0">
                <a:solidFill>
                  <a:srgbClr val="000000"/>
                </a:solidFill>
                <a:latin typeface="Nunito Sans"/>
              </a:rPr>
              <a:t>Insights</a:t>
            </a:r>
            <a:r>
              <a:rPr lang="en-US" sz="2000" b="0" dirty="0">
                <a:solidFill>
                  <a:srgbClr val="000000"/>
                </a:solidFill>
                <a:latin typeface="Nunito Sans"/>
              </a:rPr>
              <a:t> </a:t>
            </a:r>
            <a:r>
              <a:rPr lang="en-US" sz="2000" b="0" u="sng" dirty="0">
                <a:solidFill>
                  <a:srgbClr val="000000"/>
                </a:solidFill>
                <a:latin typeface="Nunito Sans"/>
              </a:rPr>
              <a:t>dive deeper </a:t>
            </a:r>
            <a:r>
              <a:rPr lang="en-US" sz="2000" b="0" dirty="0">
                <a:solidFill>
                  <a:srgbClr val="000000"/>
                </a:solidFill>
                <a:latin typeface="Nunito Sans"/>
              </a:rPr>
              <a:t>into data and connect dots that may seem unrelated to shed light on the questions under consideration.</a:t>
            </a:r>
            <a:br>
              <a:rPr lang="en-US" sz="2000" b="0" dirty="0">
                <a:solidFill>
                  <a:srgbClr val="000000"/>
                </a:solidFill>
                <a:latin typeface="Nunito Sans"/>
              </a:rPr>
            </a:br>
            <a:br>
              <a:rPr lang="en-US" sz="2000" b="0" dirty="0">
                <a:solidFill>
                  <a:srgbClr val="000000"/>
                </a:solidFill>
                <a:latin typeface="Nunito Sans"/>
              </a:rPr>
            </a:br>
            <a:r>
              <a:rPr lang="en-US" sz="2000" b="0" dirty="0">
                <a:solidFill>
                  <a:srgbClr val="060BC6"/>
                </a:solidFill>
                <a:latin typeface="Nunito Sans"/>
              </a:rPr>
              <a:t>treehousetechgroup.com </a:t>
            </a:r>
            <a:endParaRPr lang="en-US" sz="2000" b="0" i="0" dirty="0">
              <a:solidFill>
                <a:srgbClr val="060BC6"/>
              </a:solidFill>
              <a:effectLst/>
              <a:latin typeface="Nunito San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BE7639F-1D95-4129-88E9-FE4E072FBB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4048" y="2598359"/>
            <a:ext cx="3955342" cy="3955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13575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Rectangle 2"/>
          <p:cNvSpPr>
            <a:spLocks noChangeArrowheads="1"/>
          </p:cNvSpPr>
          <p:nvPr/>
        </p:nvSpPr>
        <p:spPr bwMode="auto">
          <a:xfrm>
            <a:off x="708481" y="2348880"/>
            <a:ext cx="8226845" cy="1850237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  <a:effectLst/>
        </p:spPr>
        <p:txBody>
          <a:bodyPr wrap="none" anchor="ctr"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r>
              <a:rPr lang="en-US" sz="8800">
                <a:ln/>
                <a:latin typeface="Arial Narrow" pitchFamily="34" charset="0"/>
                <a:cs typeface="Times New Roman" pitchFamily="18" charset="0"/>
              </a:rPr>
              <a:t>Thank You</a:t>
            </a:r>
            <a:endParaRPr lang="en-US" sz="7200" dirty="0">
              <a:ln/>
              <a:latin typeface="Arial Narrow" pitchFamily="34" charset="0"/>
              <a:cs typeface="Times New Roman" pitchFamily="18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2CCB5B6-018F-4FCA-B859-A2797A73A9D4}"/>
              </a:ext>
            </a:extLst>
          </p:cNvPr>
          <p:cNvGrpSpPr/>
          <p:nvPr/>
        </p:nvGrpSpPr>
        <p:grpSpPr>
          <a:xfrm>
            <a:off x="154297" y="4810426"/>
            <a:ext cx="8954207" cy="1426886"/>
            <a:chOff x="0" y="4743472"/>
            <a:chExt cx="8954207" cy="1426886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9F460F97-B458-4920-B1C0-8D20B7975E65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48534" y="4955061"/>
              <a:ext cx="1436118" cy="951428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4E396584-0CD4-4EF5-AAF8-3BAEC9D21B5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743472"/>
              <a:ext cx="1466274" cy="133161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8238141B-028B-4392-809E-E13CC9FE4B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77"/>
            <a:stretch/>
          </p:blipFill>
          <p:spPr>
            <a:xfrm>
              <a:off x="4798424" y="4955060"/>
              <a:ext cx="2209800" cy="113823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1DD335A4-A4D6-4C47-A30F-7788E66E6ED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66274" y="4860014"/>
              <a:ext cx="1785747" cy="114152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20" name="Picture 2">
              <a:extLst>
                <a:ext uri="{FF2B5EF4-FFF2-40B4-BE49-F238E27FC236}">
                  <a16:creationId xmlns:a16="http://schemas.microsoft.com/office/drawing/2014/main" id="{BD2EEAC6-080B-4B0B-9435-5A3FD88DDB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1528" y="4955061"/>
              <a:ext cx="1792679" cy="121529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E17B7D41-9BB0-4994-82B0-C76E4CDD3FC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632"/>
            <a:ext cx="746055" cy="74850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2A4A00B-BBD7-4CED-A82F-BC7A06179A1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5236" y="-15065"/>
            <a:ext cx="697260" cy="697260"/>
          </a:xfrm>
          <a:prstGeom prst="rect">
            <a:avLst/>
          </a:prstGeom>
        </p:spPr>
      </p:pic>
      <p:pic>
        <p:nvPicPr>
          <p:cNvPr id="2" name="Picture 1" descr="A logo of a light bulb&#10;&#10;Description automatically generated">
            <a:extLst>
              <a:ext uri="{FF2B5EF4-FFF2-40B4-BE49-F238E27FC236}">
                <a16:creationId xmlns:a16="http://schemas.microsoft.com/office/drawing/2014/main" id="{A9006098-17A3-91CA-E023-B5BB3A164D1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232" y="67897"/>
            <a:ext cx="531335" cy="531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18323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413792"/>
            <a:ext cx="8229600" cy="1143000"/>
          </a:xfrm>
        </p:spPr>
        <p:txBody>
          <a:bodyPr>
            <a:normAutofit/>
          </a:bodyPr>
          <a:lstStyle/>
          <a:p>
            <a:pPr eaLnBrk="1" hangingPunct="1"/>
            <a:r>
              <a:rPr lang="en-AU">
                <a:solidFill>
                  <a:schemeClr val="tx1"/>
                </a:solidFill>
              </a:rPr>
              <a:t>Data </a:t>
            </a:r>
            <a:r>
              <a:rPr lang="en-AU" dirty="0">
                <a:solidFill>
                  <a:schemeClr val="tx1"/>
                </a:solidFill>
              </a:rPr>
              <a:t>Mining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26" name="Picture 2" descr="Image result for &quot;data mining&quot; cartoon">
            <a:extLst>
              <a:ext uri="{FF2B5EF4-FFF2-40B4-BE49-F238E27FC236}">
                <a16:creationId xmlns:a16="http://schemas.microsoft.com/office/drawing/2014/main" id="{914ADB5F-30F1-48B7-B9E8-408360A7BDCA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1554962"/>
            <a:ext cx="6048672" cy="5194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842D6F9-F193-42F6-804A-CB79AB1DCA8F}"/>
              </a:ext>
            </a:extLst>
          </p:cNvPr>
          <p:cNvSpPr/>
          <p:nvPr/>
        </p:nvSpPr>
        <p:spPr>
          <a:xfrm>
            <a:off x="2613771" y="6489908"/>
            <a:ext cx="39164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d-ID" sz="1800" dirty="0">
                <a:solidFill>
                  <a:schemeClr val="tx1"/>
                </a:solidFill>
              </a:rPr>
              <a:t>http://cadeh.com/portfolio/mining/</a:t>
            </a:r>
          </a:p>
        </p:txBody>
      </p:sp>
    </p:spTree>
    <p:extLst>
      <p:ext uri="{BB962C8B-B14F-4D97-AF65-F5344CB8AC3E}">
        <p14:creationId xmlns:p14="http://schemas.microsoft.com/office/powerpoint/2010/main" val="2530550081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60120"/>
            <a:ext cx="9144000" cy="4924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35896" y="2708920"/>
            <a:ext cx="3877056" cy="3316406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259632" y="1772816"/>
            <a:ext cx="8064896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4800" cap="all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What is DATA </a:t>
            </a:r>
            <a:r>
              <a:rPr lang="en-US" sz="4800" cap="all" dirty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MINING?</a:t>
            </a:r>
          </a:p>
        </p:txBody>
      </p:sp>
      <p:sp>
        <p:nvSpPr>
          <p:cNvPr id="3" name="Rectangle 2"/>
          <p:cNvSpPr/>
          <p:nvPr/>
        </p:nvSpPr>
        <p:spPr>
          <a:xfrm>
            <a:off x="3131840" y="6025326"/>
            <a:ext cx="538234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0" dirty="0">
                <a:solidFill>
                  <a:srgbClr val="006600"/>
                </a:solidFill>
              </a:rPr>
              <a:t>http://courses.essex.ac.uk/ce/ce802/Data%20Mining%20Cartoon.jpg</a:t>
            </a:r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594" name="Picture 5" descr="opec-oil.jpg">
            <a:extLst>
              <a:ext uri="{FF2B5EF4-FFF2-40B4-BE49-F238E27FC236}">
                <a16:creationId xmlns:a16="http://schemas.microsoft.com/office/drawing/2014/main" id="{0D433F15-2241-48B9-B359-1B75E9B93B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595" name="Picture 12" descr="quote-paper2">
            <a:extLst>
              <a:ext uri="{FF2B5EF4-FFF2-40B4-BE49-F238E27FC236}">
                <a16:creationId xmlns:a16="http://schemas.microsoft.com/office/drawing/2014/main" id="{A5F9AD93-9EF5-469A-84E4-1FF701CF0B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9075" y="1255390"/>
            <a:ext cx="868680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596" name="Picture 13" descr="quote-paper2">
            <a:extLst>
              <a:ext uri="{FF2B5EF4-FFF2-40B4-BE49-F238E27FC236}">
                <a16:creationId xmlns:a16="http://schemas.microsoft.com/office/drawing/2014/main" id="{1C4959A0-321F-4C72-BAB2-0847B35BEE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0663" y="4063702"/>
            <a:ext cx="868680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0597" name="Rectangle 3">
            <a:extLst>
              <a:ext uri="{FF2B5EF4-FFF2-40B4-BE49-F238E27FC236}">
                <a16:creationId xmlns:a16="http://schemas.microsoft.com/office/drawing/2014/main" id="{A2AFDC8D-5717-4952-99D6-39C2AAA795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388" y="1700808"/>
            <a:ext cx="7705725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78038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    Data is the new oil. Like crude oil, data is valuable, but if it is not managed properly, it cannot be utilized.</a:t>
            </a:r>
            <a:r>
              <a:rPr kumimoji="0" lang="id-ID" altLang="ja-JP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.</a:t>
            </a:r>
            <a:endParaRPr kumimoji="0" lang="en-US" altLang="ja-JP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– Clive </a:t>
            </a:r>
            <a:r>
              <a:rPr kumimoji="0" lang="en-US" alt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Humby</a:t>
            </a: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, </a:t>
            </a:r>
            <a:r>
              <a:rPr kumimoji="0" lang="en-US" alt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DunnHumby</a:t>
            </a:r>
            <a:endParaRPr kumimoji="0" lang="en-US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10599" name="Rectangle 3">
            <a:extLst>
              <a:ext uri="{FF2B5EF4-FFF2-40B4-BE49-F238E27FC236}">
                <a16:creationId xmlns:a16="http://schemas.microsoft.com/office/drawing/2014/main" id="{8E3C508E-D880-40C9-8668-1D343AD4B4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701" y="4240237"/>
            <a:ext cx="7524700" cy="199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78038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   </a:t>
            </a:r>
            <a:endParaRPr kumimoji="0" lang="id-ID" altLang="ja-JP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For the first time, we have an economy based on a primary resource (information) that is not only renewable but also continuously growing.</a:t>
            </a:r>
            <a:endParaRPr kumimoji="0" lang="en-US" altLang="ja-JP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– 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John </a:t>
            </a:r>
            <a:r>
              <a:rPr kumimoji="0" lang="en-US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Naisbitt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110600" name="Picture 15" descr="bracket1_blu">
            <a:extLst>
              <a:ext uri="{FF2B5EF4-FFF2-40B4-BE49-F238E27FC236}">
                <a16:creationId xmlns:a16="http://schemas.microsoft.com/office/drawing/2014/main" id="{52C58B7D-E8FE-46AC-91C4-4624889EBC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5776" y="4284266"/>
            <a:ext cx="323850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601" name="Picture 16" descr="bracket_blu2">
            <a:extLst>
              <a:ext uri="{FF2B5EF4-FFF2-40B4-BE49-F238E27FC236}">
                <a16:creationId xmlns:a16="http://schemas.microsoft.com/office/drawing/2014/main" id="{E522D7AB-6F20-437D-B1B2-FFA5394BA8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34871" y="5238774"/>
            <a:ext cx="323850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602" name="Picture 17" descr="bracket1_blu">
            <a:extLst>
              <a:ext uri="{FF2B5EF4-FFF2-40B4-BE49-F238E27FC236}">
                <a16:creationId xmlns:a16="http://schemas.microsoft.com/office/drawing/2014/main" id="{30CB5233-0836-4D68-8691-51163E235D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0887" y="1621768"/>
            <a:ext cx="323850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603" name="Picture 18" descr="bracket_blu2">
            <a:extLst>
              <a:ext uri="{FF2B5EF4-FFF2-40B4-BE49-F238E27FC236}">
                <a16:creationId xmlns:a16="http://schemas.microsoft.com/office/drawing/2014/main" id="{952F5718-0F56-47F9-A418-12F9555988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88326" y="2225353"/>
            <a:ext cx="323850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A65AA28-E63D-4C41-8A28-F4A34B7A8026}"/>
              </a:ext>
            </a:extLst>
          </p:cNvPr>
          <p:cNvSpPr txBox="1"/>
          <p:nvPr/>
        </p:nvSpPr>
        <p:spPr>
          <a:xfrm>
            <a:off x="0" y="37073"/>
            <a:ext cx="9252520" cy="1015663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ndustri 4.0 = DATA</a:t>
            </a:r>
            <a:endParaRPr kumimoji="0" lang="id-ID" sz="7200" b="1" i="0" u="none" strike="noStrike" kern="1200" cap="none" spc="0" normalizeH="0" baseline="0" noProof="1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26484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10CCBA7A-1C3C-42FB-8E3F-E380B0472073}"/>
              </a:ext>
            </a:extLst>
          </p:cNvPr>
          <p:cNvSpPr txBox="1"/>
          <p:nvPr/>
        </p:nvSpPr>
        <p:spPr>
          <a:xfrm>
            <a:off x="-25240" y="29686"/>
            <a:ext cx="9169240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Limitless Potential for Creativity &amp; Innovation in the Digital Era.</a:t>
            </a:r>
            <a:endParaRPr kumimoji="0" lang="id-ID" sz="4400" b="0" i="0" u="none" strike="noStrike" kern="1200" cap="none" spc="0" normalizeH="0" baseline="0" noProof="1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38914" name="Picture 2" descr="Related image">
            <a:extLst>
              <a:ext uri="{FF2B5EF4-FFF2-40B4-BE49-F238E27FC236}">
                <a16:creationId xmlns:a16="http://schemas.microsoft.com/office/drawing/2014/main" id="{95618363-CD88-4963-A623-5CD62E25C22B}"/>
              </a:ext>
            </a:extLst>
          </p:cNvPr>
          <p:cNvPicPr>
            <a:picLocks noGrp="1" noChangeAspect="1" noChangeArrowheads="1"/>
          </p:cNvPicPr>
          <p:nvPr>
            <p:ph idx="4294967295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394" y="1447317"/>
            <a:ext cx="3973513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16" name="Picture 4" descr="Image result for Google logo">
            <a:extLst>
              <a:ext uri="{FF2B5EF4-FFF2-40B4-BE49-F238E27FC236}">
                <a16:creationId xmlns:a16="http://schemas.microsoft.com/office/drawing/2014/main" id="{EC8BBA6D-A856-437D-9525-8179A7A1FB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00" t="20026" r="8072" b="16545"/>
          <a:stretch/>
        </p:blipFill>
        <p:spPr bwMode="auto">
          <a:xfrm>
            <a:off x="268661" y="4955528"/>
            <a:ext cx="1944216" cy="684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226F20-CE03-442C-88B9-A283C721808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79546" y="4906369"/>
            <a:ext cx="1607344" cy="594066"/>
          </a:xfrm>
          <a:prstGeom prst="rect">
            <a:avLst/>
          </a:prstGeom>
        </p:spPr>
      </p:pic>
      <p:pic>
        <p:nvPicPr>
          <p:cNvPr id="9" name="Picture 8" descr="Image result for &quot;online shopping&quot; indonesia">
            <a:extLst>
              <a:ext uri="{FF2B5EF4-FFF2-40B4-BE49-F238E27FC236}">
                <a16:creationId xmlns:a16="http://schemas.microsoft.com/office/drawing/2014/main" id="{1C8D6A3D-067D-45C1-9C7B-3501FE36B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69672" y="5156882"/>
            <a:ext cx="3431841" cy="156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18" name="Picture 6" descr="Image result for nusantara beta logo">
            <a:extLst>
              <a:ext uri="{FF2B5EF4-FFF2-40B4-BE49-F238E27FC236}">
                <a16:creationId xmlns:a16="http://schemas.microsoft.com/office/drawing/2014/main" id="{FB5F88BC-876E-4771-B0A9-34745EEC6E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8307" y="5717257"/>
            <a:ext cx="930399" cy="930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20" name="Picture 8" descr="Image result for bnb logo">
            <a:extLst>
              <a:ext uri="{FF2B5EF4-FFF2-40B4-BE49-F238E27FC236}">
                <a16:creationId xmlns:a16="http://schemas.microsoft.com/office/drawing/2014/main" id="{00EF18F6-A1CA-4ADE-B38C-0457ECC83F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06674" y="5883691"/>
            <a:ext cx="968851" cy="644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22" name="Picture 10" descr="Image result for apple logo">
            <a:extLst>
              <a:ext uri="{FF2B5EF4-FFF2-40B4-BE49-F238E27FC236}">
                <a16:creationId xmlns:a16="http://schemas.microsoft.com/office/drawing/2014/main" id="{E2FD6BF0-9780-4D77-B2C8-3BE4D3C439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8661" y="5883691"/>
            <a:ext cx="522266" cy="565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24" name="Picture 12" descr="Image result for android logo">
            <a:extLst>
              <a:ext uri="{FF2B5EF4-FFF2-40B4-BE49-F238E27FC236}">
                <a16:creationId xmlns:a16="http://schemas.microsoft.com/office/drawing/2014/main" id="{87A4C924-7077-4937-9B0C-15088E09C4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5081" y="5928658"/>
            <a:ext cx="549212" cy="644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5C02F18-CCBD-40FD-B656-E8078877878F}"/>
              </a:ext>
            </a:extLst>
          </p:cNvPr>
          <p:cNvSpPr txBox="1">
            <a:spLocks/>
          </p:cNvSpPr>
          <p:nvPr/>
        </p:nvSpPr>
        <p:spPr>
          <a:xfrm>
            <a:off x="3929564" y="1822348"/>
            <a:ext cx="5263900" cy="3026243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Large accommodation companies do not own their own  hotels.“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Large transportation companies do not own their own fleets."</a:t>
            </a:r>
          </a:p>
        </p:txBody>
      </p:sp>
    </p:spTree>
    <p:extLst>
      <p:ext uri="{BB962C8B-B14F-4D97-AF65-F5344CB8AC3E}">
        <p14:creationId xmlns:p14="http://schemas.microsoft.com/office/powerpoint/2010/main" val="1771271350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5FC4F98-7F81-4D9E-8518-D83B170FF733}"/>
              </a:ext>
            </a:extLst>
          </p:cNvPr>
          <p:cNvSpPr txBox="1"/>
          <p:nvPr/>
        </p:nvSpPr>
        <p:spPr>
          <a:xfrm>
            <a:off x="0" y="-8291"/>
            <a:ext cx="8820472" cy="584775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i="0" u="none" strike="noStrike" kern="1200" cap="none" spc="0" normalizeH="0" baseline="0" noProof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is Rapidly Growing</a:t>
            </a:r>
            <a:endParaRPr kumimoji="0" lang="en-US" sz="3200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C4C65F-D9D3-4362-AA28-99773E5EA3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60" y="576484"/>
            <a:ext cx="9103956" cy="530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148559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578059-E94D-4D7A-B043-3EBFB7C86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>
                <a:solidFill>
                  <a:schemeClr val="tx1"/>
                </a:solidFill>
              </a:rPr>
              <a:t>Data Mining Definition</a:t>
            </a:r>
            <a:endParaRPr lang="en-AU" dirty="0">
              <a:solidFill>
                <a:schemeClr val="tx1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8AD41C-4131-47CB-A996-1D9474D3B2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628800"/>
            <a:ext cx="9144000" cy="5029200"/>
          </a:xfrm>
        </p:spPr>
        <p:txBody>
          <a:bodyPr/>
          <a:lstStyle/>
          <a:p>
            <a:pPr marL="0" indent="0">
              <a:buNone/>
            </a:pPr>
            <a:r>
              <a:rPr lang="en-US" sz="2400"/>
              <a:t>There is no universally agreed-upon definition; however, here are some examples of existing definitions:</a:t>
            </a:r>
          </a:p>
          <a:p>
            <a:pPr marL="0" indent="0">
              <a:buNone/>
            </a:pPr>
            <a:endParaRPr lang="en-US" sz="2400"/>
          </a:p>
          <a:p>
            <a:pPr marL="0" indent="0">
              <a:buNone/>
            </a:pPr>
            <a:r>
              <a:rPr lang="en-US" sz="2400"/>
              <a:t>- </a:t>
            </a:r>
            <a:r>
              <a:rPr lang="en-US" sz="2400" i="1"/>
              <a:t>Data mining is the search and analysis of large data sets to discover meaningful patterns and rules </a:t>
            </a:r>
            <a:r>
              <a:rPr lang="en-US" sz="2400"/>
              <a:t>(Berry &amp; Linoff, 2004: 7).</a:t>
            </a:r>
          </a:p>
          <a:p>
            <a:pPr marL="0" indent="0">
              <a:buNone/>
            </a:pPr>
            <a:r>
              <a:rPr lang="en-US" sz="2400"/>
              <a:t>- </a:t>
            </a:r>
            <a:r>
              <a:rPr lang="en-US" sz="2400" i="1"/>
              <a:t>Data mining is a technique for analyzing large sets of data to find unexpected and useful relationships for the data owner </a:t>
            </a:r>
            <a:r>
              <a:rPr lang="en-US" sz="2400"/>
              <a:t>(Hand, 2001: 1).</a:t>
            </a:r>
          </a:p>
          <a:p>
            <a:pPr marL="0" indent="0">
              <a:buNone/>
            </a:pPr>
            <a:r>
              <a:rPr lang="en-US" sz="2400"/>
              <a:t>- </a:t>
            </a:r>
            <a:r>
              <a:rPr lang="en-US" sz="2400" i="1"/>
              <a:t>Data mining is the process of discovering patterns and relationships within data </a:t>
            </a:r>
            <a:r>
              <a:rPr lang="en-US" sz="2400"/>
              <a:t>(Hornick, 2007: 6).</a:t>
            </a:r>
          </a:p>
          <a:p>
            <a:pPr marL="0" indent="0">
              <a:buNone/>
            </a:pPr>
            <a:r>
              <a:rPr lang="en-US" sz="2400"/>
              <a:t>- </a:t>
            </a:r>
            <a:r>
              <a:rPr lang="en-US" sz="2400" i="1"/>
              <a:t>Data mining is an automatic or semi-automatic process for discovering new and potentially valuable information (knowledge) from a data set</a:t>
            </a:r>
            <a:r>
              <a:rPr lang="en-US" sz="2400"/>
              <a:t> (Tang &amp; Jamie, 2005: 2).</a:t>
            </a:r>
            <a:endParaRPr lang="en-AU" sz="2400" dirty="0"/>
          </a:p>
        </p:txBody>
      </p:sp>
    </p:spTree>
    <p:extLst>
      <p:ext uri="{BB962C8B-B14F-4D97-AF65-F5344CB8AC3E}">
        <p14:creationId xmlns:p14="http://schemas.microsoft.com/office/powerpoint/2010/main" val="724966929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0" y="713990"/>
            <a:ext cx="9144000" cy="6100595"/>
            <a:chOff x="0" y="713990"/>
            <a:chExt cx="9143999" cy="6100595"/>
          </a:xfrm>
        </p:grpSpPr>
        <p:sp>
          <p:nvSpPr>
            <p:cNvPr id="3" name="TextBox 2"/>
            <p:cNvSpPr txBox="1"/>
            <p:nvPr/>
          </p:nvSpPr>
          <p:spPr>
            <a:xfrm>
              <a:off x="0" y="713990"/>
              <a:ext cx="9143999" cy="523220"/>
            </a:xfrm>
            <a:prstGeom prst="rect">
              <a:avLst/>
            </a:prstGeom>
            <a:noFill/>
            <a:effectLst>
              <a:glow rad="101600">
                <a:schemeClr val="accent1">
                  <a:satMod val="175000"/>
                  <a:alpha val="40000"/>
                </a:schemeClr>
              </a:glow>
            </a:effectLst>
          </p:spPr>
          <p:txBody>
            <a:bodyPr wrap="square" rtlCol="0">
              <a:spAutoFit/>
            </a:bodyPr>
            <a:lstStyle/>
            <a:p>
              <a:r>
                <a:rPr lang="en-US" sz="2800" cap="all">
                  <a:ln w="9000" cmpd="sng">
                    <a:solidFill>
                      <a:srgbClr val="060BC6"/>
                    </a:solidFill>
                    <a:prstDash val="solid"/>
                  </a:ln>
                  <a:solidFill>
                    <a:schemeClr val="accent4"/>
                  </a:solidFill>
                  <a:effectLst>
                    <a:reflection blurRad="12700" stA="28000" endPos="45000" dist="1000" dir="5400000" sy="-100000" algn="bl" rotWithShape="0"/>
                  </a:effectLst>
                </a:rPr>
                <a:t>Statistic </a:t>
              </a:r>
              <a:endParaRPr lang="en-US" sz="2800" cap="all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chemeClr val="accent4"/>
                </a:solidFill>
                <a:effectLst>
                  <a:reflection blurRad="12700" stA="28000" endPos="45000" dist="1000" dir="5400000" sy="-100000" algn="bl" rotWithShape="0"/>
                </a:effectLst>
              </a:endParaRPr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50" b="12086"/>
            <a:stretch/>
          </p:blipFill>
          <p:spPr>
            <a:xfrm>
              <a:off x="6444208" y="1618550"/>
              <a:ext cx="2097325" cy="1527959"/>
            </a:xfrm>
            <a:prstGeom prst="rect">
              <a:avLst/>
            </a:prstGeom>
          </p:spPr>
        </p:pic>
        <p:sp>
          <p:nvSpPr>
            <p:cNvPr id="8" name="Right Arrow 7"/>
            <p:cNvSpPr/>
            <p:nvPr/>
          </p:nvSpPr>
          <p:spPr bwMode="auto">
            <a:xfrm rot="20302780">
              <a:off x="3462815" y="2924183"/>
              <a:ext cx="2361616" cy="484632"/>
            </a:xfrm>
            <a:prstGeom prst="rightArrow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cene3d>
                <a:camera prst="orthographicFront">
                  <a:rot lat="0" lon="0" rev="0"/>
                </a:camera>
                <a:lightRig rig="contrasting" dir="t">
                  <a:rot lat="0" lon="0" rev="4500000"/>
                </a:lightRig>
              </a:scene3d>
              <a:sp3d contourW="6350" prstMaterial="metal">
                <a:bevelT w="127000" h="31750" prst="relaxedInset"/>
                <a:contourClr>
                  <a:schemeClr val="accent1">
                    <a:shade val="75000"/>
                  </a:schemeClr>
                </a:contourClr>
              </a:sp3d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600" i="0" u="none" strike="noStrike" cap="all" normalizeH="0" baseline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latin typeface="Arial" charset="0"/>
                <a:ea typeface="굴림" pitchFamily="50" charset="-127"/>
              </a:endParaRPr>
            </a:p>
          </p:txBody>
        </p:sp>
        <p:pic>
          <p:nvPicPr>
            <p:cNvPr id="4099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85688" y="2912193"/>
              <a:ext cx="2014364" cy="18070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100" name="Picture 4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444208" y="4728372"/>
              <a:ext cx="2055844" cy="20862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Right Arrow 11"/>
            <p:cNvSpPr/>
            <p:nvPr/>
          </p:nvSpPr>
          <p:spPr bwMode="auto">
            <a:xfrm rot="2148694">
              <a:off x="3305900" y="4155335"/>
              <a:ext cx="2842175" cy="484632"/>
            </a:xfrm>
            <a:prstGeom prst="rightArrow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cene3d>
                <a:camera prst="orthographicFront">
                  <a:rot lat="0" lon="0" rev="0"/>
                </a:camera>
                <a:lightRig rig="contrasting" dir="t">
                  <a:rot lat="0" lon="0" rev="4500000"/>
                </a:lightRig>
              </a:scene3d>
              <a:sp3d contourW="6350" prstMaterial="metal">
                <a:bevelT w="127000" h="31750" prst="relaxedInset"/>
                <a:contourClr>
                  <a:schemeClr val="accent1">
                    <a:shade val="75000"/>
                  </a:schemeClr>
                </a:contourClr>
              </a:sp3d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600" i="0" u="none" strike="noStrike" cap="all" normalizeH="0" baseline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latin typeface="Arial" charset="0"/>
                <a:ea typeface="굴림" pitchFamily="50" charset="-127"/>
              </a:endParaRPr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437" y="2506158"/>
              <a:ext cx="3263451" cy="2041208"/>
            </a:xfrm>
            <a:prstGeom prst="rect">
              <a:avLst/>
            </a:prstGeom>
          </p:spPr>
        </p:pic>
        <p:sp>
          <p:nvSpPr>
            <p:cNvPr id="11" name="Right Arrow 10"/>
            <p:cNvSpPr/>
            <p:nvPr/>
          </p:nvSpPr>
          <p:spPr bwMode="auto">
            <a:xfrm>
              <a:off x="3607226" y="3369637"/>
              <a:ext cx="2361616" cy="484632"/>
            </a:xfrm>
            <a:prstGeom prst="rightArrow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cene3d>
                <a:camera prst="orthographicFront">
                  <a:rot lat="0" lon="0" rev="0"/>
                </a:camera>
                <a:lightRig rig="contrasting" dir="t">
                  <a:rot lat="0" lon="0" rev="4500000"/>
                </a:lightRig>
              </a:scene3d>
              <a:sp3d contourW="6350" prstMaterial="metal">
                <a:bevelT w="127000" h="31750" prst="relaxedInset"/>
                <a:contourClr>
                  <a:schemeClr val="accent1">
                    <a:shade val="75000"/>
                  </a:schemeClr>
                </a:contourClr>
              </a:sp3d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600" i="0" u="none" strike="noStrike" cap="all" normalizeH="0" baseline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latin typeface="Arial" charset="0"/>
                <a:ea typeface="굴림" pitchFamily="50" charset="-127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40601" y="5714333"/>
            <a:ext cx="625523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60BC6"/>
                </a:solidFill>
              </a:rPr>
              <a:t>“Simple”, but theoretically complex</a:t>
            </a:r>
          </a:p>
          <a:p>
            <a:r>
              <a:rPr lang="en-US" sz="2800" dirty="0" err="1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60BC6"/>
                </a:solidFill>
              </a:rPr>
              <a:t>Mengapa</a:t>
            </a:r>
            <a:r>
              <a:rPr lang="en-US" sz="2800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60BC6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98792335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4" grpId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468521" y="713990"/>
            <a:ext cx="5790888" cy="52322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2800" cap="all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chemeClr val="accent4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Data today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1700808"/>
            <a:ext cx="4176464" cy="5157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17350"/>
            <a:ext cx="4932040" cy="49717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1717350"/>
            <a:ext cx="2857500" cy="3571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2942480"/>
            <a:ext cx="3239202" cy="3915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2341057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LFE0vyQuGiICUhr1HdYg"/>
</p:tagLst>
</file>

<file path=ppt/theme/theme1.xml><?xml version="1.0" encoding="utf-8"?>
<a:theme xmlns:a="http://schemas.openxmlformats.org/drawingml/2006/main" name="169TGp_arrow_light_s">
  <a:themeElements>
    <a:clrScheme name="169TGp_arrow_light_s 1">
      <a:dk1>
        <a:srgbClr val="000000"/>
      </a:dk1>
      <a:lt1>
        <a:srgbClr val="FFFFFF"/>
      </a:lt1>
      <a:dk2>
        <a:srgbClr val="233DA9"/>
      </a:dk2>
      <a:lt2>
        <a:srgbClr val="DDDDDD"/>
      </a:lt2>
      <a:accent1>
        <a:srgbClr val="65AAE9"/>
      </a:accent1>
      <a:accent2>
        <a:srgbClr val="B2B2B2"/>
      </a:accent2>
      <a:accent3>
        <a:srgbClr val="FFFFFF"/>
      </a:accent3>
      <a:accent4>
        <a:srgbClr val="000000"/>
      </a:accent4>
      <a:accent5>
        <a:srgbClr val="B8D2F2"/>
      </a:accent5>
      <a:accent6>
        <a:srgbClr val="A1A1A1"/>
      </a:accent6>
      <a:hlink>
        <a:srgbClr val="7DA0D3"/>
      </a:hlink>
      <a:folHlink>
        <a:srgbClr val="B2E385"/>
      </a:folHlink>
    </a:clrScheme>
    <a:fontScheme name="169TGp_arrow_light_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굴림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굴림" pitchFamily="50" charset="-127"/>
          </a:defRPr>
        </a:defPPr>
      </a:lstStyle>
    </a:lnDef>
  </a:objectDefaults>
  <a:extraClrSchemeLst>
    <a:extraClrScheme>
      <a:clrScheme name="169TGp_arrow_light_s 1">
        <a:dk1>
          <a:srgbClr val="000000"/>
        </a:dk1>
        <a:lt1>
          <a:srgbClr val="FFFFFF"/>
        </a:lt1>
        <a:dk2>
          <a:srgbClr val="233DA9"/>
        </a:dk2>
        <a:lt2>
          <a:srgbClr val="DDDDDD"/>
        </a:lt2>
        <a:accent1>
          <a:srgbClr val="65AAE9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B8D2F2"/>
        </a:accent5>
        <a:accent6>
          <a:srgbClr val="A1A1A1"/>
        </a:accent6>
        <a:hlink>
          <a:srgbClr val="7DA0D3"/>
        </a:hlink>
        <a:folHlink>
          <a:srgbClr val="B2E38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9TGp_arrow_light_s 2">
        <a:dk1>
          <a:srgbClr val="000000"/>
        </a:dk1>
        <a:lt1>
          <a:srgbClr val="FFFFFF"/>
        </a:lt1>
        <a:dk2>
          <a:srgbClr val="632769"/>
        </a:dk2>
        <a:lt2>
          <a:srgbClr val="DDDDDD"/>
        </a:lt2>
        <a:accent1>
          <a:srgbClr val="8B8DE1"/>
        </a:accent1>
        <a:accent2>
          <a:srgbClr val="FF997D"/>
        </a:accent2>
        <a:accent3>
          <a:srgbClr val="FFFFFF"/>
        </a:accent3>
        <a:accent4>
          <a:srgbClr val="000000"/>
        </a:accent4>
        <a:accent5>
          <a:srgbClr val="C4C5EE"/>
        </a:accent5>
        <a:accent6>
          <a:srgbClr val="E78A71"/>
        </a:accent6>
        <a:hlink>
          <a:srgbClr val="58AFD2"/>
        </a:hlink>
        <a:folHlink>
          <a:srgbClr val="BFDF6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9TGp_arrow_light_s 3">
        <a:dk1>
          <a:srgbClr val="000000"/>
        </a:dk1>
        <a:lt1>
          <a:srgbClr val="FFFFFF"/>
        </a:lt1>
        <a:dk2>
          <a:srgbClr val="37737F"/>
        </a:dk2>
        <a:lt2>
          <a:srgbClr val="DDDDDD"/>
        </a:lt2>
        <a:accent1>
          <a:srgbClr val="52BCB2"/>
        </a:accent1>
        <a:accent2>
          <a:srgbClr val="E0A56A"/>
        </a:accent2>
        <a:accent3>
          <a:srgbClr val="FFFFFF"/>
        </a:accent3>
        <a:accent4>
          <a:srgbClr val="000000"/>
        </a:accent4>
        <a:accent5>
          <a:srgbClr val="B3DAD5"/>
        </a:accent5>
        <a:accent6>
          <a:srgbClr val="CB955F"/>
        </a:accent6>
        <a:hlink>
          <a:srgbClr val="A0C264"/>
        </a:hlink>
        <a:folHlink>
          <a:srgbClr val="DCDC2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07</TotalTime>
  <Words>594</Words>
  <Application>Microsoft Office PowerPoint</Application>
  <PresentationFormat>On-screen Show (4:3)</PresentationFormat>
  <Paragraphs>55</Paragraphs>
  <Slides>17</Slides>
  <Notes>9</Notes>
  <HiddenSlides>0</HiddenSlides>
  <MMClips>2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31" baseType="lpstr">
      <vt:lpstr>Calibri (Body)</vt:lpstr>
      <vt:lpstr>Arial</vt:lpstr>
      <vt:lpstr>Arial Narrow</vt:lpstr>
      <vt:lpstr>Calibri</vt:lpstr>
      <vt:lpstr>Calibri Light</vt:lpstr>
      <vt:lpstr>Constantia</vt:lpstr>
      <vt:lpstr>Nunito Sans</vt:lpstr>
      <vt:lpstr>Tahoma</vt:lpstr>
      <vt:lpstr>Wingdings</vt:lpstr>
      <vt:lpstr>169TGp_arrow_light_s</vt:lpstr>
      <vt:lpstr>Office Theme</vt:lpstr>
      <vt:lpstr>1_Office Theme</vt:lpstr>
      <vt:lpstr>Image</vt:lpstr>
      <vt:lpstr>think-cell Slide</vt:lpstr>
      <vt:lpstr>PowerPoint Presentation</vt:lpstr>
      <vt:lpstr>Data Mining</vt:lpstr>
      <vt:lpstr>PowerPoint Presentation</vt:lpstr>
      <vt:lpstr>PowerPoint Presentation</vt:lpstr>
      <vt:lpstr>PowerPoint Presentation</vt:lpstr>
      <vt:lpstr>PowerPoint Presentation</vt:lpstr>
      <vt:lpstr>Data Mining Defini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ata  Information  DIKW Pyramid</vt:lpstr>
      <vt:lpstr>Insight?</vt:lpstr>
      <vt:lpstr>PowerPoint Presentation</vt:lpstr>
    </vt:vector>
  </TitlesOfParts>
  <Company>Guil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creator>Taufik Sutanto</dc:creator>
  <cp:lastModifiedBy>Reviewer</cp:lastModifiedBy>
  <cp:revision>560</cp:revision>
  <cp:lastPrinted>2022-09-09T06:16:05Z</cp:lastPrinted>
  <dcterms:created xsi:type="dcterms:W3CDTF">2005-06-13T01:02:31Z</dcterms:created>
  <dcterms:modified xsi:type="dcterms:W3CDTF">2024-09-05T01:31:58Z</dcterms:modified>
</cp:coreProperties>
</file>